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1" r:id="rId2"/>
  </p:sldMasterIdLst>
  <p:notesMasterIdLst>
    <p:notesMasterId r:id="rId10"/>
  </p:notesMasterIdLst>
  <p:sldIdLst>
    <p:sldId id="616" r:id="rId3"/>
    <p:sldId id="835" r:id="rId4"/>
    <p:sldId id="855" r:id="rId5"/>
    <p:sldId id="856" r:id="rId6"/>
    <p:sldId id="857" r:id="rId7"/>
    <p:sldId id="858" r:id="rId8"/>
    <p:sldId id="854" r:id="rId9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133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550" userDrawn="1">
          <p15:clr>
            <a:srgbClr val="A4A3A4"/>
          </p15:clr>
        </p15:guide>
        <p15:guide id="4" pos="597" userDrawn="1">
          <p15:clr>
            <a:srgbClr val="A4A3A4"/>
          </p15:clr>
        </p15:guide>
        <p15:guide id="5" pos="5609" userDrawn="1">
          <p15:clr>
            <a:srgbClr val="A4A3A4"/>
          </p15:clr>
        </p15:guide>
        <p15:guide id="6" pos="7083" userDrawn="1">
          <p15:clr>
            <a:srgbClr val="A4A3A4"/>
          </p15:clr>
        </p15:guide>
        <p15:guide id="7" orient="horz" pos="1661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620"/>
    <a:srgbClr val="00257C"/>
    <a:srgbClr val="A6A6A6"/>
    <a:srgbClr val="004BF2"/>
    <a:srgbClr val="3372FF"/>
    <a:srgbClr val="FFDC79"/>
    <a:srgbClr val="FFD869"/>
    <a:srgbClr val="FFE59B"/>
    <a:srgbClr val="FFDA71"/>
    <a:srgbClr val="6B6B6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76EECC6-284B-436B-A2B6-692242E53738}" v="6" dt="2025-06-18T00:39:29.062"/>
    <p1510:client id="{9E12DE18-2AFC-43DE-9AC3-0BD9CBC89C13}" v="89" dt="2025-06-18T15:55:17.16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9" autoAdjust="0"/>
    <p:restoredTop sz="94660"/>
  </p:normalViewPr>
  <p:slideViewPr>
    <p:cSldViewPr snapToGrid="0" showGuides="1">
      <p:cViewPr varScale="1">
        <p:scale>
          <a:sx n="81" d="100"/>
          <a:sy n="81" d="100"/>
        </p:scale>
        <p:origin x="246" y="48"/>
      </p:cViewPr>
      <p:guideLst>
        <p:guide orient="horz" pos="4133"/>
        <p:guide pos="3840"/>
        <p:guide orient="horz" pos="550"/>
        <p:guide pos="597"/>
        <p:guide pos="5609"/>
        <p:guide pos="7083"/>
        <p:guide orient="horz" pos="1661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microsoft.com/office/2016/11/relationships/changesInfo" Target="changesInfos/changesInfo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edel, Yanick Noah" userId="c0f86fc0-9b55-4d74-958a-ff514487524f" providerId="ADAL" clId="{9E12DE18-2AFC-43DE-9AC3-0BD9CBC89C13}"/>
    <pc:docChg chg="undo custSel addSld delSld modSld">
      <pc:chgData name="Bedel, Yanick Noah" userId="c0f86fc0-9b55-4d74-958a-ff514487524f" providerId="ADAL" clId="{9E12DE18-2AFC-43DE-9AC3-0BD9CBC89C13}" dt="2025-06-18T15:55:17.161" v="887"/>
      <pc:docMkLst>
        <pc:docMk/>
      </pc:docMkLst>
      <pc:sldChg chg="addSp modSp mod modTransition">
        <pc:chgData name="Bedel, Yanick Noah" userId="c0f86fc0-9b55-4d74-958a-ff514487524f" providerId="ADAL" clId="{9E12DE18-2AFC-43DE-9AC3-0BD9CBC89C13}" dt="2025-06-18T15:55:17.161" v="887"/>
        <pc:sldMkLst>
          <pc:docMk/>
          <pc:sldMk cId="224690573" sldId="616"/>
        </pc:sldMkLst>
        <pc:spChg chg="add mod">
          <ac:chgData name="Bedel, Yanick Noah" userId="c0f86fc0-9b55-4d74-958a-ff514487524f" providerId="ADAL" clId="{9E12DE18-2AFC-43DE-9AC3-0BD9CBC89C13}" dt="2025-06-18T15:43:42.944" v="723" actId="1076"/>
          <ac:spMkLst>
            <pc:docMk/>
            <pc:sldMk cId="224690573" sldId="616"/>
            <ac:spMk id="3" creationId="{9B246451-2425-3038-C0DB-3BFB053F04EE}"/>
          </ac:spMkLst>
        </pc:spChg>
      </pc:sldChg>
      <pc:sldChg chg="addSp delSp modSp mod">
        <pc:chgData name="Bedel, Yanick Noah" userId="c0f86fc0-9b55-4d74-958a-ff514487524f" providerId="ADAL" clId="{9E12DE18-2AFC-43DE-9AC3-0BD9CBC89C13}" dt="2025-06-18T07:18:04.979" v="490" actId="478"/>
        <pc:sldMkLst>
          <pc:docMk/>
          <pc:sldMk cId="2704049841" sldId="835"/>
        </pc:sldMkLst>
        <pc:spChg chg="mod">
          <ac:chgData name="Bedel, Yanick Noah" userId="c0f86fc0-9b55-4d74-958a-ff514487524f" providerId="ADAL" clId="{9E12DE18-2AFC-43DE-9AC3-0BD9CBC89C13}" dt="2025-06-18T07:15:49.956" v="351" actId="20577"/>
          <ac:spMkLst>
            <pc:docMk/>
            <pc:sldMk cId="2704049841" sldId="835"/>
            <ac:spMk id="2" creationId="{EC6B09D9-B9FB-EE37-175A-1B7749BF0BD6}"/>
          </ac:spMkLst>
        </pc:spChg>
        <pc:spChg chg="del">
          <ac:chgData name="Bedel, Yanick Noah" userId="c0f86fc0-9b55-4d74-958a-ff514487524f" providerId="ADAL" clId="{9E12DE18-2AFC-43DE-9AC3-0BD9CBC89C13}" dt="2025-06-18T07:18:04.979" v="490" actId="478"/>
          <ac:spMkLst>
            <pc:docMk/>
            <pc:sldMk cId="2704049841" sldId="835"/>
            <ac:spMk id="3" creationId="{76065A14-B77E-AF61-697B-94CB556AB348}"/>
          </ac:spMkLst>
        </pc:spChg>
        <pc:picChg chg="add mod ord">
          <ac:chgData name="Bedel, Yanick Noah" userId="c0f86fc0-9b55-4d74-958a-ff514487524f" providerId="ADAL" clId="{9E12DE18-2AFC-43DE-9AC3-0BD9CBC89C13}" dt="2025-06-18T07:18:02.085" v="489" actId="167"/>
          <ac:picMkLst>
            <pc:docMk/>
            <pc:sldMk cId="2704049841" sldId="835"/>
            <ac:picMk id="8" creationId="{45B25C1E-C048-E382-99F6-DCF0C004EE5F}"/>
          </ac:picMkLst>
        </pc:picChg>
      </pc:sldChg>
      <pc:sldChg chg="modTransition">
        <pc:chgData name="Bedel, Yanick Noah" userId="c0f86fc0-9b55-4d74-958a-ff514487524f" providerId="ADAL" clId="{9E12DE18-2AFC-43DE-9AC3-0BD9CBC89C13}" dt="2025-06-18T15:55:12.550" v="886"/>
        <pc:sldMkLst>
          <pc:docMk/>
          <pc:sldMk cId="1475770056" sldId="854"/>
        </pc:sldMkLst>
      </pc:sldChg>
      <pc:sldChg chg="addSp delSp modSp mod">
        <pc:chgData name="Bedel, Yanick Noah" userId="c0f86fc0-9b55-4d74-958a-ff514487524f" providerId="ADAL" clId="{9E12DE18-2AFC-43DE-9AC3-0BD9CBC89C13}" dt="2025-06-18T07:55:00.353" v="715" actId="20577"/>
        <pc:sldMkLst>
          <pc:docMk/>
          <pc:sldMk cId="3423417792" sldId="855"/>
        </pc:sldMkLst>
        <pc:spChg chg="mod">
          <ac:chgData name="Bedel, Yanick Noah" userId="c0f86fc0-9b55-4d74-958a-ff514487524f" providerId="ADAL" clId="{9E12DE18-2AFC-43DE-9AC3-0BD9CBC89C13}" dt="2025-06-18T07:13:05.011" v="163" actId="14100"/>
          <ac:spMkLst>
            <pc:docMk/>
            <pc:sldMk cId="3423417792" sldId="855"/>
            <ac:spMk id="2" creationId="{2CBB1148-92C0-3AF4-31A3-D7C3D6C4F9DA}"/>
          </ac:spMkLst>
        </pc:spChg>
        <pc:spChg chg="del mod">
          <ac:chgData name="Bedel, Yanick Noah" userId="c0f86fc0-9b55-4d74-958a-ff514487524f" providerId="ADAL" clId="{9E12DE18-2AFC-43DE-9AC3-0BD9CBC89C13}" dt="2025-06-18T07:21:04.933" v="516" actId="478"/>
          <ac:spMkLst>
            <pc:docMk/>
            <pc:sldMk cId="3423417792" sldId="855"/>
            <ac:spMk id="3" creationId="{0C7162B2-3027-6753-20AB-358EB2884409}"/>
          </ac:spMkLst>
        </pc:spChg>
        <pc:spChg chg="mod">
          <ac:chgData name="Bedel, Yanick Noah" userId="c0f86fc0-9b55-4d74-958a-ff514487524f" providerId="ADAL" clId="{9E12DE18-2AFC-43DE-9AC3-0BD9CBC89C13}" dt="2025-06-18T07:55:00.353" v="715" actId="20577"/>
          <ac:spMkLst>
            <pc:docMk/>
            <pc:sldMk cId="3423417792" sldId="855"/>
            <ac:spMk id="6" creationId="{8A80A721-4A71-D747-C5E9-756ED438B718}"/>
          </ac:spMkLst>
        </pc:spChg>
        <pc:graphicFrameChg chg="add del mod">
          <ac:chgData name="Bedel, Yanick Noah" userId="c0f86fc0-9b55-4d74-958a-ff514487524f" providerId="ADAL" clId="{9E12DE18-2AFC-43DE-9AC3-0BD9CBC89C13}" dt="2025-06-18T07:19:53.370" v="499" actId="478"/>
          <ac:graphicFrameMkLst>
            <pc:docMk/>
            <pc:sldMk cId="3423417792" sldId="855"/>
            <ac:graphicFrameMk id="7" creationId="{3D75412C-48EE-6C5E-B08B-00B051DD84E2}"/>
          </ac:graphicFrameMkLst>
        </pc:graphicFrameChg>
        <pc:graphicFrameChg chg="add mod modGraphic">
          <ac:chgData name="Bedel, Yanick Noah" userId="c0f86fc0-9b55-4d74-958a-ff514487524f" providerId="ADAL" clId="{9E12DE18-2AFC-43DE-9AC3-0BD9CBC89C13}" dt="2025-06-18T07:22:16.668" v="520"/>
          <ac:graphicFrameMkLst>
            <pc:docMk/>
            <pc:sldMk cId="3423417792" sldId="855"/>
            <ac:graphicFrameMk id="8" creationId="{5F570CDE-48AC-63EB-651B-F7DAE3C9971F}"/>
          </ac:graphicFrameMkLst>
        </pc:graphicFrameChg>
      </pc:sldChg>
      <pc:sldChg chg="addSp delSp modSp mod">
        <pc:chgData name="Bedel, Yanick Noah" userId="c0f86fc0-9b55-4d74-958a-ff514487524f" providerId="ADAL" clId="{9E12DE18-2AFC-43DE-9AC3-0BD9CBC89C13}" dt="2025-06-18T15:48:50.529" v="836" actId="1076"/>
        <pc:sldMkLst>
          <pc:docMk/>
          <pc:sldMk cId="46183394" sldId="856"/>
        </pc:sldMkLst>
        <pc:spChg chg="mod">
          <ac:chgData name="Bedel, Yanick Noah" userId="c0f86fc0-9b55-4d74-958a-ff514487524f" providerId="ADAL" clId="{9E12DE18-2AFC-43DE-9AC3-0BD9CBC89C13}" dt="2025-06-18T07:13:51.057" v="217" actId="20577"/>
          <ac:spMkLst>
            <pc:docMk/>
            <pc:sldMk cId="46183394" sldId="856"/>
            <ac:spMk id="2" creationId="{46E15F4E-CC48-FBD4-BB58-D4053695FF65}"/>
          </ac:spMkLst>
        </pc:spChg>
        <pc:spChg chg="mod">
          <ac:chgData name="Bedel, Yanick Noah" userId="c0f86fc0-9b55-4d74-958a-ff514487524f" providerId="ADAL" clId="{9E12DE18-2AFC-43DE-9AC3-0BD9CBC89C13}" dt="2025-06-18T07:48:56.259" v="710" actId="13926"/>
          <ac:spMkLst>
            <pc:docMk/>
            <pc:sldMk cId="46183394" sldId="856"/>
            <ac:spMk id="3" creationId="{C11F9E01-33A8-0A97-CC9B-A759F0E6250D}"/>
          </ac:spMkLst>
        </pc:spChg>
        <pc:spChg chg="mod">
          <ac:chgData name="Bedel, Yanick Noah" userId="c0f86fc0-9b55-4d74-958a-ff514487524f" providerId="ADAL" clId="{9E12DE18-2AFC-43DE-9AC3-0BD9CBC89C13}" dt="2025-06-18T07:55:04.938" v="717" actId="20577"/>
          <ac:spMkLst>
            <pc:docMk/>
            <pc:sldMk cId="46183394" sldId="856"/>
            <ac:spMk id="6" creationId="{F5E34A13-C9FB-BB06-CE2E-835A787EB776}"/>
          </ac:spMkLst>
        </pc:spChg>
        <pc:spChg chg="add mod">
          <ac:chgData name="Bedel, Yanick Noah" userId="c0f86fc0-9b55-4d74-958a-ff514487524f" providerId="ADAL" clId="{9E12DE18-2AFC-43DE-9AC3-0BD9CBC89C13}" dt="2025-06-18T07:44:49.953" v="669" actId="207"/>
          <ac:spMkLst>
            <pc:docMk/>
            <pc:sldMk cId="46183394" sldId="856"/>
            <ac:spMk id="13" creationId="{C4459453-730D-9D54-0035-025607C35422}"/>
          </ac:spMkLst>
        </pc:spChg>
        <pc:spChg chg="add mod">
          <ac:chgData name="Bedel, Yanick Noah" userId="c0f86fc0-9b55-4d74-958a-ff514487524f" providerId="ADAL" clId="{9E12DE18-2AFC-43DE-9AC3-0BD9CBC89C13}" dt="2025-06-18T07:45:10.043" v="671" actId="1076"/>
          <ac:spMkLst>
            <pc:docMk/>
            <pc:sldMk cId="46183394" sldId="856"/>
            <ac:spMk id="15" creationId="{88876B6D-E1F7-D8C7-B85D-207451BA6D18}"/>
          </ac:spMkLst>
        </pc:spChg>
        <pc:spChg chg="add mod">
          <ac:chgData name="Bedel, Yanick Noah" userId="c0f86fc0-9b55-4d74-958a-ff514487524f" providerId="ADAL" clId="{9E12DE18-2AFC-43DE-9AC3-0BD9CBC89C13}" dt="2025-06-18T07:45:36.870" v="674" actId="1076"/>
          <ac:spMkLst>
            <pc:docMk/>
            <pc:sldMk cId="46183394" sldId="856"/>
            <ac:spMk id="17" creationId="{0A6E10F7-BD72-01A3-C1BA-F75A9C14ED23}"/>
          </ac:spMkLst>
        </pc:spChg>
        <pc:spChg chg="add mod">
          <ac:chgData name="Bedel, Yanick Noah" userId="c0f86fc0-9b55-4d74-958a-ff514487524f" providerId="ADAL" clId="{9E12DE18-2AFC-43DE-9AC3-0BD9CBC89C13}" dt="2025-06-18T07:45:36.870" v="674" actId="1076"/>
          <ac:spMkLst>
            <pc:docMk/>
            <pc:sldMk cId="46183394" sldId="856"/>
            <ac:spMk id="19" creationId="{0638422C-56E9-D284-4F1D-11725B309832}"/>
          </ac:spMkLst>
        </pc:spChg>
        <pc:picChg chg="add mod ord modCrop">
          <ac:chgData name="Bedel, Yanick Noah" userId="c0f86fc0-9b55-4d74-958a-ff514487524f" providerId="ADAL" clId="{9E12DE18-2AFC-43DE-9AC3-0BD9CBC89C13}" dt="2025-06-18T07:41:30.659" v="621" actId="732"/>
          <ac:picMkLst>
            <pc:docMk/>
            <pc:sldMk cId="46183394" sldId="856"/>
            <ac:picMk id="7" creationId="{484DF2C7-4CC2-5F32-EE2F-56B4C639722C}"/>
          </ac:picMkLst>
        </pc:picChg>
        <pc:picChg chg="add del mod">
          <ac:chgData name="Bedel, Yanick Noah" userId="c0f86fc0-9b55-4d74-958a-ff514487524f" providerId="ADAL" clId="{9E12DE18-2AFC-43DE-9AC3-0BD9CBC89C13}" dt="2025-06-18T07:48:44.002" v="706" actId="478"/>
          <ac:picMkLst>
            <pc:docMk/>
            <pc:sldMk cId="46183394" sldId="856"/>
            <ac:picMk id="14" creationId="{AD9BA24A-663A-4836-F11E-0A8513EFFC70}"/>
          </ac:picMkLst>
        </pc:picChg>
        <pc:picChg chg="add del mod">
          <ac:chgData name="Bedel, Yanick Noah" userId="c0f86fc0-9b55-4d74-958a-ff514487524f" providerId="ADAL" clId="{9E12DE18-2AFC-43DE-9AC3-0BD9CBC89C13}" dt="2025-06-18T07:46:38.064" v="681" actId="478"/>
          <ac:picMkLst>
            <pc:docMk/>
            <pc:sldMk cId="46183394" sldId="856"/>
            <ac:picMk id="16" creationId="{BD6D7D84-7C7B-6312-1BEF-ACFB2DB5CB7B}"/>
          </ac:picMkLst>
        </pc:picChg>
        <pc:picChg chg="add del mod">
          <ac:chgData name="Bedel, Yanick Noah" userId="c0f86fc0-9b55-4d74-958a-ff514487524f" providerId="ADAL" clId="{9E12DE18-2AFC-43DE-9AC3-0BD9CBC89C13}" dt="2025-06-18T07:47:44.367" v="692" actId="478"/>
          <ac:picMkLst>
            <pc:docMk/>
            <pc:sldMk cId="46183394" sldId="856"/>
            <ac:picMk id="18" creationId="{0DD488D1-150E-1C26-6BF6-92DC574B02BF}"/>
          </ac:picMkLst>
        </pc:picChg>
        <pc:picChg chg="add">
          <ac:chgData name="Bedel, Yanick Noah" userId="c0f86fc0-9b55-4d74-958a-ff514487524f" providerId="ADAL" clId="{9E12DE18-2AFC-43DE-9AC3-0BD9CBC89C13}" dt="2025-06-18T07:42:26.257" v="622"/>
          <ac:picMkLst>
            <pc:docMk/>
            <pc:sldMk cId="46183394" sldId="856"/>
            <ac:picMk id="2050" creationId="{3B90B85C-937E-F86C-54F6-126BA71846B0}"/>
          </ac:picMkLst>
        </pc:picChg>
        <pc:picChg chg="add mod">
          <ac:chgData name="Bedel, Yanick Noah" userId="c0f86fc0-9b55-4d74-958a-ff514487524f" providerId="ADAL" clId="{9E12DE18-2AFC-43DE-9AC3-0BD9CBC89C13}" dt="2025-06-18T07:44:24.839" v="666" actId="1076"/>
          <ac:picMkLst>
            <pc:docMk/>
            <pc:sldMk cId="46183394" sldId="856"/>
            <ac:picMk id="2052" creationId="{EBAC0BA1-A051-CA84-D5C0-3D76D55EB9A4}"/>
          </ac:picMkLst>
        </pc:picChg>
        <pc:picChg chg="add mod">
          <ac:chgData name="Bedel, Yanick Noah" userId="c0f86fc0-9b55-4d74-958a-ff514487524f" providerId="ADAL" clId="{9E12DE18-2AFC-43DE-9AC3-0BD9CBC89C13}" dt="2025-06-18T07:47:34.095" v="687" actId="14100"/>
          <ac:picMkLst>
            <pc:docMk/>
            <pc:sldMk cId="46183394" sldId="856"/>
            <ac:picMk id="2054" creationId="{C833BAB4-DA4C-B6C5-2B3F-D823719E5EBE}"/>
          </ac:picMkLst>
        </pc:picChg>
        <pc:picChg chg="add mod">
          <ac:chgData name="Bedel, Yanick Noah" userId="c0f86fc0-9b55-4d74-958a-ff514487524f" providerId="ADAL" clId="{9E12DE18-2AFC-43DE-9AC3-0BD9CBC89C13}" dt="2025-06-18T15:48:50.529" v="836" actId="1076"/>
          <ac:picMkLst>
            <pc:docMk/>
            <pc:sldMk cId="46183394" sldId="856"/>
            <ac:picMk id="2056" creationId="{729567A8-7562-6998-2031-83A2377C5DB8}"/>
          </ac:picMkLst>
        </pc:picChg>
        <pc:picChg chg="add mod">
          <ac:chgData name="Bedel, Yanick Noah" userId="c0f86fc0-9b55-4d74-958a-ff514487524f" providerId="ADAL" clId="{9E12DE18-2AFC-43DE-9AC3-0BD9CBC89C13}" dt="2025-06-18T07:48:52.127" v="709" actId="1076"/>
          <ac:picMkLst>
            <pc:docMk/>
            <pc:sldMk cId="46183394" sldId="856"/>
            <ac:picMk id="2058" creationId="{398D9E33-E785-256B-21AA-800991E7224D}"/>
          </ac:picMkLst>
        </pc:picChg>
        <pc:cxnChg chg="add mod ord">
          <ac:chgData name="Bedel, Yanick Noah" userId="c0f86fc0-9b55-4d74-958a-ff514487524f" providerId="ADAL" clId="{9E12DE18-2AFC-43DE-9AC3-0BD9CBC89C13}" dt="2025-06-18T07:45:42.849" v="675" actId="166"/>
          <ac:cxnSpMkLst>
            <pc:docMk/>
            <pc:sldMk cId="46183394" sldId="856"/>
            <ac:cxnSpMk id="9" creationId="{DBE8E280-9DEF-7D55-D22C-B18A617AB393}"/>
          </ac:cxnSpMkLst>
        </pc:cxnChg>
        <pc:cxnChg chg="add mod">
          <ac:chgData name="Bedel, Yanick Noah" userId="c0f86fc0-9b55-4d74-958a-ff514487524f" providerId="ADAL" clId="{9E12DE18-2AFC-43DE-9AC3-0BD9CBC89C13}" dt="2025-06-18T07:43:45.024" v="637" actId="1076"/>
          <ac:cxnSpMkLst>
            <pc:docMk/>
            <pc:sldMk cId="46183394" sldId="856"/>
            <ac:cxnSpMk id="10" creationId="{BCF73400-70DA-9763-6F10-96CBE97675CC}"/>
          </ac:cxnSpMkLst>
        </pc:cxnChg>
      </pc:sldChg>
      <pc:sldChg chg="addSp delSp modSp mod delAnim modAnim">
        <pc:chgData name="Bedel, Yanick Noah" userId="c0f86fc0-9b55-4d74-958a-ff514487524f" providerId="ADAL" clId="{9E12DE18-2AFC-43DE-9AC3-0BD9CBC89C13}" dt="2025-06-18T15:54:37.352" v="885" actId="207"/>
        <pc:sldMkLst>
          <pc:docMk/>
          <pc:sldMk cId="2405560728" sldId="857"/>
        </pc:sldMkLst>
        <pc:spChg chg="mod">
          <ac:chgData name="Bedel, Yanick Noah" userId="c0f86fc0-9b55-4d74-958a-ff514487524f" providerId="ADAL" clId="{9E12DE18-2AFC-43DE-9AC3-0BD9CBC89C13}" dt="2025-06-18T07:14:28.543" v="287" actId="14100"/>
          <ac:spMkLst>
            <pc:docMk/>
            <pc:sldMk cId="2405560728" sldId="857"/>
            <ac:spMk id="2" creationId="{3E4107F8-11F6-4111-207C-114B48713707}"/>
          </ac:spMkLst>
        </pc:spChg>
        <pc:spChg chg="mod">
          <ac:chgData name="Bedel, Yanick Noah" userId="c0f86fc0-9b55-4d74-958a-ff514487524f" providerId="ADAL" clId="{9E12DE18-2AFC-43DE-9AC3-0BD9CBC89C13}" dt="2025-06-18T15:44:31.464" v="803" actId="1076"/>
          <ac:spMkLst>
            <pc:docMk/>
            <pc:sldMk cId="2405560728" sldId="857"/>
            <ac:spMk id="3" creationId="{1565E2EB-8C39-341B-86D2-08A840F1D524}"/>
          </ac:spMkLst>
        </pc:spChg>
        <pc:spChg chg="mod">
          <ac:chgData name="Bedel, Yanick Noah" userId="c0f86fc0-9b55-4d74-958a-ff514487524f" providerId="ADAL" clId="{9E12DE18-2AFC-43DE-9AC3-0BD9CBC89C13}" dt="2025-06-18T07:55:09.177" v="719" actId="20577"/>
          <ac:spMkLst>
            <pc:docMk/>
            <pc:sldMk cId="2405560728" sldId="857"/>
            <ac:spMk id="6" creationId="{4342B6C1-077A-AF2A-A44A-E1FB41B29C1A}"/>
          </ac:spMkLst>
        </pc:spChg>
        <pc:spChg chg="mod">
          <ac:chgData name="Bedel, Yanick Noah" userId="c0f86fc0-9b55-4d74-958a-ff514487524f" providerId="ADAL" clId="{9E12DE18-2AFC-43DE-9AC3-0BD9CBC89C13}" dt="2025-06-18T15:49:06.803" v="837" actId="207"/>
          <ac:spMkLst>
            <pc:docMk/>
            <pc:sldMk cId="2405560728" sldId="857"/>
            <ac:spMk id="8" creationId="{A45CFCF4-DD82-1948-D6EC-7C17E03B54E8}"/>
          </ac:spMkLst>
        </pc:spChg>
        <pc:spChg chg="mod">
          <ac:chgData name="Bedel, Yanick Noah" userId="c0f86fc0-9b55-4d74-958a-ff514487524f" providerId="ADAL" clId="{9E12DE18-2AFC-43DE-9AC3-0BD9CBC89C13}" dt="2025-06-18T15:52:16.122" v="861" actId="207"/>
          <ac:spMkLst>
            <pc:docMk/>
            <pc:sldMk cId="2405560728" sldId="857"/>
            <ac:spMk id="9" creationId="{15E024A1-0FDA-5805-628A-D233992CDFC1}"/>
          </ac:spMkLst>
        </pc:spChg>
        <pc:spChg chg="mod">
          <ac:chgData name="Bedel, Yanick Noah" userId="c0f86fc0-9b55-4d74-958a-ff514487524f" providerId="ADAL" clId="{9E12DE18-2AFC-43DE-9AC3-0BD9CBC89C13}" dt="2025-06-18T15:52:08.699" v="860" actId="207"/>
          <ac:spMkLst>
            <pc:docMk/>
            <pc:sldMk cId="2405560728" sldId="857"/>
            <ac:spMk id="10" creationId="{1A09E611-A791-1606-89C9-46CC7733DA28}"/>
          </ac:spMkLst>
        </pc:spChg>
        <pc:spChg chg="mod">
          <ac:chgData name="Bedel, Yanick Noah" userId="c0f86fc0-9b55-4d74-958a-ff514487524f" providerId="ADAL" clId="{9E12DE18-2AFC-43DE-9AC3-0BD9CBC89C13}" dt="2025-06-18T15:51:54.747" v="858" actId="207"/>
          <ac:spMkLst>
            <pc:docMk/>
            <pc:sldMk cId="2405560728" sldId="857"/>
            <ac:spMk id="11" creationId="{88392AF1-D80E-27D8-8895-D3A24913D89A}"/>
          </ac:spMkLst>
        </pc:spChg>
        <pc:spChg chg="add mod">
          <ac:chgData name="Bedel, Yanick Noah" userId="c0f86fc0-9b55-4d74-958a-ff514487524f" providerId="ADAL" clId="{9E12DE18-2AFC-43DE-9AC3-0BD9CBC89C13}" dt="2025-06-18T07:34:49.408" v="522"/>
          <ac:spMkLst>
            <pc:docMk/>
            <pc:sldMk cId="2405560728" sldId="857"/>
            <ac:spMk id="12" creationId="{97312541-9FDC-5683-72F5-16F1DAAD14C2}"/>
          </ac:spMkLst>
        </pc:spChg>
        <pc:spChg chg="mod">
          <ac:chgData name="Bedel, Yanick Noah" userId="c0f86fc0-9b55-4d74-958a-ff514487524f" providerId="ADAL" clId="{9E12DE18-2AFC-43DE-9AC3-0BD9CBC89C13}" dt="2025-06-18T15:53:57.911" v="877" actId="207"/>
          <ac:spMkLst>
            <pc:docMk/>
            <pc:sldMk cId="2405560728" sldId="857"/>
            <ac:spMk id="13" creationId="{99285C16-DEFA-342D-5E17-6EA28C92C276}"/>
          </ac:spMkLst>
        </pc:spChg>
        <pc:spChg chg="mod">
          <ac:chgData name="Bedel, Yanick Noah" userId="c0f86fc0-9b55-4d74-958a-ff514487524f" providerId="ADAL" clId="{9E12DE18-2AFC-43DE-9AC3-0BD9CBC89C13}" dt="2025-06-18T15:53:58.332" v="878" actId="207"/>
          <ac:spMkLst>
            <pc:docMk/>
            <pc:sldMk cId="2405560728" sldId="857"/>
            <ac:spMk id="14" creationId="{67D6B817-F6CD-A4FA-5A29-267D2DDE1C36}"/>
          </ac:spMkLst>
        </pc:spChg>
        <pc:spChg chg="mod">
          <ac:chgData name="Bedel, Yanick Noah" userId="c0f86fc0-9b55-4d74-958a-ff514487524f" providerId="ADAL" clId="{9E12DE18-2AFC-43DE-9AC3-0BD9CBC89C13}" dt="2025-06-18T15:53:58.711" v="879" actId="207"/>
          <ac:spMkLst>
            <pc:docMk/>
            <pc:sldMk cId="2405560728" sldId="857"/>
            <ac:spMk id="15" creationId="{E055B16D-D589-7703-9737-8FDC810B3834}"/>
          </ac:spMkLst>
        </pc:spChg>
        <pc:spChg chg="add mod">
          <ac:chgData name="Bedel, Yanick Noah" userId="c0f86fc0-9b55-4d74-958a-ff514487524f" providerId="ADAL" clId="{9E12DE18-2AFC-43DE-9AC3-0BD9CBC89C13}" dt="2025-06-18T07:34:49.408" v="522"/>
          <ac:spMkLst>
            <pc:docMk/>
            <pc:sldMk cId="2405560728" sldId="857"/>
            <ac:spMk id="16" creationId="{B38C2CD3-9431-6301-BA5A-BC2241F5ECBA}"/>
          </ac:spMkLst>
        </pc:spChg>
        <pc:spChg chg="add mod">
          <ac:chgData name="Bedel, Yanick Noah" userId="c0f86fc0-9b55-4d74-958a-ff514487524f" providerId="ADAL" clId="{9E12DE18-2AFC-43DE-9AC3-0BD9CBC89C13}" dt="2025-06-18T15:44:59.613" v="809" actId="208"/>
          <ac:spMkLst>
            <pc:docMk/>
            <pc:sldMk cId="2405560728" sldId="857"/>
            <ac:spMk id="17" creationId="{8B4A0A96-51D6-689E-E4BD-B3279D5BAF3F}"/>
          </ac:spMkLst>
        </pc:spChg>
        <pc:spChg chg="mod">
          <ac:chgData name="Bedel, Yanick Noah" userId="c0f86fc0-9b55-4d74-958a-ff514487524f" providerId="ADAL" clId="{9E12DE18-2AFC-43DE-9AC3-0BD9CBC89C13}" dt="2025-06-18T15:54:03.740" v="880" actId="207"/>
          <ac:spMkLst>
            <pc:docMk/>
            <pc:sldMk cId="2405560728" sldId="857"/>
            <ac:spMk id="19" creationId="{88AE783C-CED7-99CD-EA4B-FC8C1AFB76B4}"/>
          </ac:spMkLst>
        </pc:spChg>
        <pc:spChg chg="mod">
          <ac:chgData name="Bedel, Yanick Noah" userId="c0f86fc0-9b55-4d74-958a-ff514487524f" providerId="ADAL" clId="{9E12DE18-2AFC-43DE-9AC3-0BD9CBC89C13}" dt="2025-06-18T07:34:49.408" v="522"/>
          <ac:spMkLst>
            <pc:docMk/>
            <pc:sldMk cId="2405560728" sldId="857"/>
            <ac:spMk id="22" creationId="{B0CD3A82-331F-3937-D29C-2BA495C3FD8D}"/>
          </ac:spMkLst>
        </pc:spChg>
        <pc:spChg chg="mod">
          <ac:chgData name="Bedel, Yanick Noah" userId="c0f86fc0-9b55-4d74-958a-ff514487524f" providerId="ADAL" clId="{9E12DE18-2AFC-43DE-9AC3-0BD9CBC89C13}" dt="2025-06-18T07:34:49.408" v="522"/>
          <ac:spMkLst>
            <pc:docMk/>
            <pc:sldMk cId="2405560728" sldId="857"/>
            <ac:spMk id="23" creationId="{CB4246AC-9312-CA8F-58F2-7E0E0A7A2AAE}"/>
          </ac:spMkLst>
        </pc:spChg>
        <pc:spChg chg="mod">
          <ac:chgData name="Bedel, Yanick Noah" userId="c0f86fc0-9b55-4d74-958a-ff514487524f" providerId="ADAL" clId="{9E12DE18-2AFC-43DE-9AC3-0BD9CBC89C13}" dt="2025-06-18T15:54:37.352" v="885" actId="207"/>
          <ac:spMkLst>
            <pc:docMk/>
            <pc:sldMk cId="2405560728" sldId="857"/>
            <ac:spMk id="24" creationId="{2B846829-769E-3EE6-F458-9E512F46E9A3}"/>
          </ac:spMkLst>
        </pc:spChg>
        <pc:spChg chg="mod">
          <ac:chgData name="Bedel, Yanick Noah" userId="c0f86fc0-9b55-4d74-958a-ff514487524f" providerId="ADAL" clId="{9E12DE18-2AFC-43DE-9AC3-0BD9CBC89C13}" dt="2025-06-18T15:54:25.309" v="884" actId="1076"/>
          <ac:spMkLst>
            <pc:docMk/>
            <pc:sldMk cId="2405560728" sldId="857"/>
            <ac:spMk id="25" creationId="{CCC66C90-1246-C78C-97C0-247572B6BB70}"/>
          </ac:spMkLst>
        </pc:spChg>
        <pc:spChg chg="mod">
          <ac:chgData name="Bedel, Yanick Noah" userId="c0f86fc0-9b55-4d74-958a-ff514487524f" providerId="ADAL" clId="{9E12DE18-2AFC-43DE-9AC3-0BD9CBC89C13}" dt="2025-06-18T07:34:49.408" v="522"/>
          <ac:spMkLst>
            <pc:docMk/>
            <pc:sldMk cId="2405560728" sldId="857"/>
            <ac:spMk id="27" creationId="{CFCE8FD5-7069-E15C-1914-D4D197F0C230}"/>
          </ac:spMkLst>
        </pc:spChg>
        <pc:spChg chg="mod">
          <ac:chgData name="Bedel, Yanick Noah" userId="c0f86fc0-9b55-4d74-958a-ff514487524f" providerId="ADAL" clId="{9E12DE18-2AFC-43DE-9AC3-0BD9CBC89C13}" dt="2025-06-18T07:34:49.408" v="522"/>
          <ac:spMkLst>
            <pc:docMk/>
            <pc:sldMk cId="2405560728" sldId="857"/>
            <ac:spMk id="30" creationId="{DD1DB570-6D6B-A767-E13B-2A8893541D9A}"/>
          </ac:spMkLst>
        </pc:spChg>
        <pc:spChg chg="mod">
          <ac:chgData name="Bedel, Yanick Noah" userId="c0f86fc0-9b55-4d74-958a-ff514487524f" providerId="ADAL" clId="{9E12DE18-2AFC-43DE-9AC3-0BD9CBC89C13}" dt="2025-06-18T15:52:48.993" v="864" actId="207"/>
          <ac:spMkLst>
            <pc:docMk/>
            <pc:sldMk cId="2405560728" sldId="857"/>
            <ac:spMk id="39" creationId="{ABAD0020-705C-844C-1C4C-66A5C8F9E7B2}"/>
          </ac:spMkLst>
        </pc:spChg>
        <pc:spChg chg="mod">
          <ac:chgData name="Bedel, Yanick Noah" userId="c0f86fc0-9b55-4d74-958a-ff514487524f" providerId="ADAL" clId="{9E12DE18-2AFC-43DE-9AC3-0BD9CBC89C13}" dt="2025-06-18T15:52:48.993" v="864" actId="207"/>
          <ac:spMkLst>
            <pc:docMk/>
            <pc:sldMk cId="2405560728" sldId="857"/>
            <ac:spMk id="40" creationId="{499AADCE-2F25-45CC-89E7-F3C4E2627F37}"/>
          </ac:spMkLst>
        </pc:spChg>
        <pc:spChg chg="mod">
          <ac:chgData name="Bedel, Yanick Noah" userId="c0f86fc0-9b55-4d74-958a-ff514487524f" providerId="ADAL" clId="{9E12DE18-2AFC-43DE-9AC3-0BD9CBC89C13}" dt="2025-06-18T15:53:26.899" v="872" actId="207"/>
          <ac:spMkLst>
            <pc:docMk/>
            <pc:sldMk cId="2405560728" sldId="857"/>
            <ac:spMk id="42" creationId="{CB739A65-19FF-5474-517C-9EFEE8B9397D}"/>
          </ac:spMkLst>
        </pc:spChg>
        <pc:spChg chg="mod">
          <ac:chgData name="Bedel, Yanick Noah" userId="c0f86fc0-9b55-4d74-958a-ff514487524f" providerId="ADAL" clId="{9E12DE18-2AFC-43DE-9AC3-0BD9CBC89C13}" dt="2025-06-18T15:53:26.899" v="872" actId="207"/>
          <ac:spMkLst>
            <pc:docMk/>
            <pc:sldMk cId="2405560728" sldId="857"/>
            <ac:spMk id="43" creationId="{0464F13F-D857-4959-697A-262FF4BA4EFA}"/>
          </ac:spMkLst>
        </pc:spChg>
        <pc:spChg chg="mod">
          <ac:chgData name="Bedel, Yanick Noah" userId="c0f86fc0-9b55-4d74-958a-ff514487524f" providerId="ADAL" clId="{9E12DE18-2AFC-43DE-9AC3-0BD9CBC89C13}" dt="2025-06-18T15:53:18.397" v="870" actId="207"/>
          <ac:spMkLst>
            <pc:docMk/>
            <pc:sldMk cId="2405560728" sldId="857"/>
            <ac:spMk id="45" creationId="{EA7288A4-EF12-BC65-9184-C9D49BB5E6B3}"/>
          </ac:spMkLst>
        </pc:spChg>
        <pc:spChg chg="mod">
          <ac:chgData name="Bedel, Yanick Noah" userId="c0f86fc0-9b55-4d74-958a-ff514487524f" providerId="ADAL" clId="{9E12DE18-2AFC-43DE-9AC3-0BD9CBC89C13}" dt="2025-06-18T15:53:18.397" v="870" actId="207"/>
          <ac:spMkLst>
            <pc:docMk/>
            <pc:sldMk cId="2405560728" sldId="857"/>
            <ac:spMk id="46" creationId="{E177253A-25BC-B1E3-D28C-383CA077DADF}"/>
          </ac:spMkLst>
        </pc:spChg>
        <pc:spChg chg="mod">
          <ac:chgData name="Bedel, Yanick Noah" userId="c0f86fc0-9b55-4d74-958a-ff514487524f" providerId="ADAL" clId="{9E12DE18-2AFC-43DE-9AC3-0BD9CBC89C13}" dt="2025-06-18T07:34:49.408" v="522"/>
          <ac:spMkLst>
            <pc:docMk/>
            <pc:sldMk cId="2405560728" sldId="857"/>
            <ac:spMk id="48" creationId="{31EE0060-BDC5-4E23-FCA8-9BD69E313087}"/>
          </ac:spMkLst>
        </pc:spChg>
        <pc:spChg chg="add del mod">
          <ac:chgData name="Bedel, Yanick Noah" userId="c0f86fc0-9b55-4d74-958a-ff514487524f" providerId="ADAL" clId="{9E12DE18-2AFC-43DE-9AC3-0BD9CBC89C13}" dt="2025-06-18T15:45:54.855" v="818" actId="478"/>
          <ac:spMkLst>
            <pc:docMk/>
            <pc:sldMk cId="2405560728" sldId="857"/>
            <ac:spMk id="50" creationId="{BC2613F4-6DD2-F400-3804-98DE2464E8B6}"/>
          </ac:spMkLst>
        </pc:spChg>
        <pc:spChg chg="add del mod">
          <ac:chgData name="Bedel, Yanick Noah" userId="c0f86fc0-9b55-4d74-958a-ff514487524f" providerId="ADAL" clId="{9E12DE18-2AFC-43DE-9AC3-0BD9CBC89C13}" dt="2025-06-18T15:45:52.533" v="816" actId="478"/>
          <ac:spMkLst>
            <pc:docMk/>
            <pc:sldMk cId="2405560728" sldId="857"/>
            <ac:spMk id="51" creationId="{14EE558F-51DB-6906-B12A-FB65D6303255}"/>
          </ac:spMkLst>
        </pc:spChg>
        <pc:spChg chg="add mod">
          <ac:chgData name="Bedel, Yanick Noah" userId="c0f86fc0-9b55-4d74-958a-ff514487524f" providerId="ADAL" clId="{9E12DE18-2AFC-43DE-9AC3-0BD9CBC89C13}" dt="2025-06-18T15:51:38.731" v="857"/>
          <ac:spMkLst>
            <pc:docMk/>
            <pc:sldMk cId="2405560728" sldId="857"/>
            <ac:spMk id="52" creationId="{7DD4EACB-F618-0CF1-E263-19417868FFE5}"/>
          </ac:spMkLst>
        </pc:spChg>
        <pc:grpChg chg="mod">
          <ac:chgData name="Bedel, Yanick Noah" userId="c0f86fc0-9b55-4d74-958a-ff514487524f" providerId="ADAL" clId="{9E12DE18-2AFC-43DE-9AC3-0BD9CBC89C13}" dt="2025-06-18T15:52:48.993" v="864" actId="207"/>
          <ac:grpSpMkLst>
            <pc:docMk/>
            <pc:sldMk cId="2405560728" sldId="857"/>
            <ac:grpSpMk id="38" creationId="{9C6F0BD1-A98B-7E0A-2FD5-37B0FC94BDC6}"/>
          </ac:grpSpMkLst>
        </pc:grpChg>
        <pc:grpChg chg="mod">
          <ac:chgData name="Bedel, Yanick Noah" userId="c0f86fc0-9b55-4d74-958a-ff514487524f" providerId="ADAL" clId="{9E12DE18-2AFC-43DE-9AC3-0BD9CBC89C13}" dt="2025-06-18T15:53:26.899" v="872" actId="207"/>
          <ac:grpSpMkLst>
            <pc:docMk/>
            <pc:sldMk cId="2405560728" sldId="857"/>
            <ac:grpSpMk id="41" creationId="{2F561D88-7C56-D36F-0EF3-6F3B723B9573}"/>
          </ac:grpSpMkLst>
        </pc:grpChg>
        <pc:grpChg chg="mod">
          <ac:chgData name="Bedel, Yanick Noah" userId="c0f86fc0-9b55-4d74-958a-ff514487524f" providerId="ADAL" clId="{9E12DE18-2AFC-43DE-9AC3-0BD9CBC89C13}" dt="2025-06-18T15:53:18.397" v="870" actId="207"/>
          <ac:grpSpMkLst>
            <pc:docMk/>
            <pc:sldMk cId="2405560728" sldId="857"/>
            <ac:grpSpMk id="44" creationId="{A8B33B9B-9930-98A2-258A-40CE0ACFB167}"/>
          </ac:grpSpMkLst>
        </pc:grpChg>
      </pc:sldChg>
      <pc:sldChg chg="addSp delSp modSp mod">
        <pc:chgData name="Bedel, Yanick Noah" userId="c0f86fc0-9b55-4d74-958a-ff514487524f" providerId="ADAL" clId="{9E12DE18-2AFC-43DE-9AC3-0BD9CBC89C13}" dt="2025-06-18T15:51:35.528" v="856" actId="21"/>
        <pc:sldMkLst>
          <pc:docMk/>
          <pc:sldMk cId="3045581423" sldId="858"/>
        </pc:sldMkLst>
        <pc:spChg chg="mod">
          <ac:chgData name="Bedel, Yanick Noah" userId="c0f86fc0-9b55-4d74-958a-ff514487524f" providerId="ADAL" clId="{9E12DE18-2AFC-43DE-9AC3-0BD9CBC89C13}" dt="2025-06-18T07:14:48.141" v="331" actId="20577"/>
          <ac:spMkLst>
            <pc:docMk/>
            <pc:sldMk cId="3045581423" sldId="858"/>
            <ac:spMk id="2" creationId="{E07F5694-94F9-B3BC-0129-A2E8C9EFE31C}"/>
          </ac:spMkLst>
        </pc:spChg>
        <pc:spChg chg="mod">
          <ac:chgData name="Bedel, Yanick Noah" userId="c0f86fc0-9b55-4d74-958a-ff514487524f" providerId="ADAL" clId="{9E12DE18-2AFC-43DE-9AC3-0BD9CBC89C13}" dt="2025-06-18T07:38:29.329" v="587" actId="1076"/>
          <ac:spMkLst>
            <pc:docMk/>
            <pc:sldMk cId="3045581423" sldId="858"/>
            <ac:spMk id="3" creationId="{45F3A613-1A76-C472-6E5B-E92EA80E18BE}"/>
          </ac:spMkLst>
        </pc:spChg>
        <pc:spChg chg="mod">
          <ac:chgData name="Bedel, Yanick Noah" userId="c0f86fc0-9b55-4d74-958a-ff514487524f" providerId="ADAL" clId="{9E12DE18-2AFC-43DE-9AC3-0BD9CBC89C13}" dt="2025-06-18T07:55:19.609" v="721" actId="20577"/>
          <ac:spMkLst>
            <pc:docMk/>
            <pc:sldMk cId="3045581423" sldId="858"/>
            <ac:spMk id="6" creationId="{F619E9B1-B021-38AB-32D2-BC4B6BC9D09E}"/>
          </ac:spMkLst>
        </pc:spChg>
        <pc:spChg chg="mod">
          <ac:chgData name="Bedel, Yanick Noah" userId="c0f86fc0-9b55-4d74-958a-ff514487524f" providerId="ADAL" clId="{9E12DE18-2AFC-43DE-9AC3-0BD9CBC89C13}" dt="2025-06-18T15:50:15.182" v="845" actId="207"/>
          <ac:spMkLst>
            <pc:docMk/>
            <pc:sldMk cId="3045581423" sldId="858"/>
            <ac:spMk id="8" creationId="{8251BC3B-F306-3A04-8F53-709B62B7F705}"/>
          </ac:spMkLst>
        </pc:spChg>
        <pc:spChg chg="mod">
          <ac:chgData name="Bedel, Yanick Noah" userId="c0f86fc0-9b55-4d74-958a-ff514487524f" providerId="ADAL" clId="{9E12DE18-2AFC-43DE-9AC3-0BD9CBC89C13}" dt="2025-06-18T15:50:08.073" v="844" actId="207"/>
          <ac:spMkLst>
            <pc:docMk/>
            <pc:sldMk cId="3045581423" sldId="858"/>
            <ac:spMk id="9" creationId="{CBD87D8A-6C62-E241-B07C-EF67A815DB2D}"/>
          </ac:spMkLst>
        </pc:spChg>
        <pc:spChg chg="mod">
          <ac:chgData name="Bedel, Yanick Noah" userId="c0f86fc0-9b55-4d74-958a-ff514487524f" providerId="ADAL" clId="{9E12DE18-2AFC-43DE-9AC3-0BD9CBC89C13}" dt="2025-06-18T15:50:15.182" v="845" actId="207"/>
          <ac:spMkLst>
            <pc:docMk/>
            <pc:sldMk cId="3045581423" sldId="858"/>
            <ac:spMk id="10" creationId="{72241D3D-1F64-54C3-02B5-4C5AA207FDF5}"/>
          </ac:spMkLst>
        </pc:spChg>
        <pc:spChg chg="mod">
          <ac:chgData name="Bedel, Yanick Noah" userId="c0f86fc0-9b55-4d74-958a-ff514487524f" providerId="ADAL" clId="{9E12DE18-2AFC-43DE-9AC3-0BD9CBC89C13}" dt="2025-06-18T15:50:03.264" v="843" actId="207"/>
          <ac:spMkLst>
            <pc:docMk/>
            <pc:sldMk cId="3045581423" sldId="858"/>
            <ac:spMk id="11" creationId="{22BB0BB6-3CF4-CA9A-29B6-94E5495F03CC}"/>
          </ac:spMkLst>
        </pc:spChg>
        <pc:spChg chg="mod">
          <ac:chgData name="Bedel, Yanick Noah" userId="c0f86fc0-9b55-4d74-958a-ff514487524f" providerId="ADAL" clId="{9E12DE18-2AFC-43DE-9AC3-0BD9CBC89C13}" dt="2025-06-18T15:50:53.689" v="849" actId="207"/>
          <ac:spMkLst>
            <pc:docMk/>
            <pc:sldMk cId="3045581423" sldId="858"/>
            <ac:spMk id="12" creationId="{6519909D-32F4-C39B-B2E2-74424EF0D1C2}"/>
          </ac:spMkLst>
        </pc:spChg>
        <pc:spChg chg="add mod">
          <ac:chgData name="Bedel, Yanick Noah" userId="c0f86fc0-9b55-4d74-958a-ff514487524f" providerId="ADAL" clId="{9E12DE18-2AFC-43DE-9AC3-0BD9CBC89C13}" dt="2025-06-18T07:37:48.968" v="579"/>
          <ac:spMkLst>
            <pc:docMk/>
            <pc:sldMk cId="3045581423" sldId="858"/>
            <ac:spMk id="14" creationId="{13A06B0C-2E92-10D2-4A33-3FBEA27E442D}"/>
          </ac:spMkLst>
        </pc:spChg>
        <pc:spChg chg="add mod">
          <ac:chgData name="Bedel, Yanick Noah" userId="c0f86fc0-9b55-4d74-958a-ff514487524f" providerId="ADAL" clId="{9E12DE18-2AFC-43DE-9AC3-0BD9CBC89C13}" dt="2025-06-18T07:37:48.968" v="579"/>
          <ac:spMkLst>
            <pc:docMk/>
            <pc:sldMk cId="3045581423" sldId="858"/>
            <ac:spMk id="16" creationId="{C0603BBE-9A3D-4D72-59CB-DB8C6E292B10}"/>
          </ac:spMkLst>
        </pc:spChg>
        <pc:spChg chg="mod">
          <ac:chgData name="Bedel, Yanick Noah" userId="c0f86fc0-9b55-4d74-958a-ff514487524f" providerId="ADAL" clId="{9E12DE18-2AFC-43DE-9AC3-0BD9CBC89C13}" dt="2025-06-18T15:51:14.333" v="853" actId="207"/>
          <ac:spMkLst>
            <pc:docMk/>
            <pc:sldMk cId="3045581423" sldId="858"/>
            <ac:spMk id="18" creationId="{F6B1A9F9-4D50-1F1F-2FA1-C0B2C1610CBE}"/>
          </ac:spMkLst>
        </pc:spChg>
        <pc:spChg chg="mod">
          <ac:chgData name="Bedel, Yanick Noah" userId="c0f86fc0-9b55-4d74-958a-ff514487524f" providerId="ADAL" clId="{9E12DE18-2AFC-43DE-9AC3-0BD9CBC89C13}" dt="2025-06-18T07:38:13.406" v="584" actId="207"/>
          <ac:spMkLst>
            <pc:docMk/>
            <pc:sldMk cId="3045581423" sldId="858"/>
            <ac:spMk id="19" creationId="{FED52BE6-3D70-CA1F-1C73-3BC5E8578ECB}"/>
          </ac:spMkLst>
        </pc:spChg>
        <pc:spChg chg="mod">
          <ac:chgData name="Bedel, Yanick Noah" userId="c0f86fc0-9b55-4d74-958a-ff514487524f" providerId="ADAL" clId="{9E12DE18-2AFC-43DE-9AC3-0BD9CBC89C13}" dt="2025-06-18T15:50:59.764" v="850" actId="207"/>
          <ac:spMkLst>
            <pc:docMk/>
            <pc:sldMk cId="3045581423" sldId="858"/>
            <ac:spMk id="21" creationId="{0B44BE03-B6D9-D14C-6290-EDE072A1EC77}"/>
          </ac:spMkLst>
        </pc:spChg>
        <pc:spChg chg="mod">
          <ac:chgData name="Bedel, Yanick Noah" userId="c0f86fc0-9b55-4d74-958a-ff514487524f" providerId="ADAL" clId="{9E12DE18-2AFC-43DE-9AC3-0BD9CBC89C13}" dt="2025-06-18T07:38:10.432" v="583" actId="207"/>
          <ac:spMkLst>
            <pc:docMk/>
            <pc:sldMk cId="3045581423" sldId="858"/>
            <ac:spMk id="22" creationId="{DC078602-FDAC-7FC8-67C1-443221D703D7}"/>
          </ac:spMkLst>
        </pc:spChg>
        <pc:spChg chg="mod">
          <ac:chgData name="Bedel, Yanick Noah" userId="c0f86fc0-9b55-4d74-958a-ff514487524f" providerId="ADAL" clId="{9E12DE18-2AFC-43DE-9AC3-0BD9CBC89C13}" dt="2025-06-18T15:51:12.024" v="852" actId="207"/>
          <ac:spMkLst>
            <pc:docMk/>
            <pc:sldMk cId="3045581423" sldId="858"/>
            <ac:spMk id="24" creationId="{9B3EA52C-DEE8-1344-396B-A768607EE659}"/>
          </ac:spMkLst>
        </pc:spChg>
        <pc:spChg chg="mod">
          <ac:chgData name="Bedel, Yanick Noah" userId="c0f86fc0-9b55-4d74-958a-ff514487524f" providerId="ADAL" clId="{9E12DE18-2AFC-43DE-9AC3-0BD9CBC89C13}" dt="2025-06-18T07:38:07.337" v="582" actId="207"/>
          <ac:spMkLst>
            <pc:docMk/>
            <pc:sldMk cId="3045581423" sldId="858"/>
            <ac:spMk id="25" creationId="{FA59B18F-DEF6-9205-D21B-AE8D3C6E3902}"/>
          </ac:spMkLst>
        </pc:spChg>
        <pc:spChg chg="mod">
          <ac:chgData name="Bedel, Yanick Noah" userId="c0f86fc0-9b55-4d74-958a-ff514487524f" providerId="ADAL" clId="{9E12DE18-2AFC-43DE-9AC3-0BD9CBC89C13}" dt="2025-06-18T15:51:07.889" v="851" actId="207"/>
          <ac:spMkLst>
            <pc:docMk/>
            <pc:sldMk cId="3045581423" sldId="858"/>
            <ac:spMk id="27" creationId="{BD105ED5-6B53-3A33-EBEA-B4F8F04DD87B}"/>
          </ac:spMkLst>
        </pc:spChg>
        <pc:spChg chg="mod">
          <ac:chgData name="Bedel, Yanick Noah" userId="c0f86fc0-9b55-4d74-958a-ff514487524f" providerId="ADAL" clId="{9E12DE18-2AFC-43DE-9AC3-0BD9CBC89C13}" dt="2025-06-18T07:38:04.422" v="581" actId="207"/>
          <ac:spMkLst>
            <pc:docMk/>
            <pc:sldMk cId="3045581423" sldId="858"/>
            <ac:spMk id="28" creationId="{7DAB3799-2309-4103-7CF3-15A53091CA28}"/>
          </ac:spMkLst>
        </pc:spChg>
        <pc:spChg chg="add del mod">
          <ac:chgData name="Bedel, Yanick Noah" userId="c0f86fc0-9b55-4d74-958a-ff514487524f" providerId="ADAL" clId="{9E12DE18-2AFC-43DE-9AC3-0BD9CBC89C13}" dt="2025-06-18T15:51:35.528" v="856" actId="21"/>
          <ac:spMkLst>
            <pc:docMk/>
            <pc:sldMk cId="3045581423" sldId="858"/>
            <ac:spMk id="29" creationId="{2CC3AC6C-8B10-BD87-E0BA-1D718F85BCF8}"/>
          </ac:spMkLst>
        </pc:spChg>
      </pc:sldChg>
      <pc:sldChg chg="delSp modSp add del mod">
        <pc:chgData name="Bedel, Yanick Noah" userId="c0f86fc0-9b55-4d74-958a-ff514487524f" providerId="ADAL" clId="{9E12DE18-2AFC-43DE-9AC3-0BD9CBC89C13}" dt="2025-06-18T07:54:56.748" v="713" actId="47"/>
        <pc:sldMkLst>
          <pc:docMk/>
          <pc:sldMk cId="3448313412" sldId="859"/>
        </pc:sldMkLst>
        <pc:spChg chg="del mod">
          <ac:chgData name="Bedel, Yanick Noah" userId="c0f86fc0-9b55-4d74-958a-ff514487524f" providerId="ADAL" clId="{9E12DE18-2AFC-43DE-9AC3-0BD9CBC89C13}" dt="2025-06-18T07:54:08.909" v="712" actId="478"/>
          <ac:spMkLst>
            <pc:docMk/>
            <pc:sldMk cId="3448313412" sldId="859"/>
            <ac:spMk id="3" creationId="{E0DBB232-643F-E479-E828-A9646DC809EF}"/>
          </ac:spMkLst>
        </pc:spChg>
        <pc:picChg chg="del">
          <ac:chgData name="Bedel, Yanick Noah" userId="c0f86fc0-9b55-4d74-958a-ff514487524f" providerId="ADAL" clId="{9E12DE18-2AFC-43DE-9AC3-0BD9CBC89C13}" dt="2025-06-18T07:17:30.922" v="360" actId="478"/>
          <ac:picMkLst>
            <pc:docMk/>
            <pc:sldMk cId="3448313412" sldId="859"/>
            <ac:picMk id="8" creationId="{2C309AE5-D12B-5E86-8CCF-554B3D2CE5CC}"/>
          </ac:picMkLst>
        </pc:picChg>
      </pc:sldChg>
    </pc:docChg>
  </pc:docChgLst>
  <pc:docChgLst>
    <pc:chgData name="Bedel, Yanick Noah" userId="c0f86fc0-9b55-4d74-958a-ff514487524f" providerId="ADAL" clId="{4491A316-F633-41B6-8B89-4C8AC32E41EE}"/>
    <pc:docChg chg="undo redo custSel addSld delSld modSld sldOrd delMainMaster modMainMaster modSection">
      <pc:chgData name="Bedel, Yanick Noah" userId="c0f86fc0-9b55-4d74-958a-ff514487524f" providerId="ADAL" clId="{4491A316-F633-41B6-8B89-4C8AC32E41EE}" dt="2025-05-23T11:26:25.605" v="7626" actId="47"/>
      <pc:docMkLst>
        <pc:docMk/>
      </pc:docMkLst>
      <pc:sldChg chg="addSp modSp del mod">
        <pc:chgData name="Bedel, Yanick Noah" userId="c0f86fc0-9b55-4d74-958a-ff514487524f" providerId="ADAL" clId="{4491A316-F633-41B6-8B89-4C8AC32E41EE}" dt="2025-05-22T12:41:23.278" v="570" actId="47"/>
        <pc:sldMkLst>
          <pc:docMk/>
          <pc:sldMk cId="136942649" sldId="256"/>
        </pc:sldMkLst>
      </pc:sldChg>
      <pc:sldChg chg="del mod modShow">
        <pc:chgData name="Bedel, Yanick Noah" userId="c0f86fc0-9b55-4d74-958a-ff514487524f" providerId="ADAL" clId="{4491A316-F633-41B6-8B89-4C8AC32E41EE}" dt="2025-05-22T14:29:52.958" v="2158" actId="2696"/>
        <pc:sldMkLst>
          <pc:docMk/>
          <pc:sldMk cId="1051711119" sldId="257"/>
        </pc:sldMkLst>
      </pc:sldChg>
      <pc:sldChg chg="del mod modShow">
        <pc:chgData name="Bedel, Yanick Noah" userId="c0f86fc0-9b55-4d74-958a-ff514487524f" providerId="ADAL" clId="{4491A316-F633-41B6-8B89-4C8AC32E41EE}" dt="2025-05-23T06:07:27.980" v="6535" actId="47"/>
        <pc:sldMkLst>
          <pc:docMk/>
          <pc:sldMk cId="1455317699" sldId="258"/>
        </pc:sldMkLst>
      </pc:sldChg>
      <pc:sldChg chg="del mod modShow">
        <pc:chgData name="Bedel, Yanick Noah" userId="c0f86fc0-9b55-4d74-958a-ff514487524f" providerId="ADAL" clId="{4491A316-F633-41B6-8B89-4C8AC32E41EE}" dt="2025-05-23T06:07:27.126" v="6534" actId="47"/>
        <pc:sldMkLst>
          <pc:docMk/>
          <pc:sldMk cId="3061298828" sldId="259"/>
        </pc:sldMkLst>
      </pc:sldChg>
      <pc:sldChg chg="del mod modShow">
        <pc:chgData name="Bedel, Yanick Noah" userId="c0f86fc0-9b55-4d74-958a-ff514487524f" providerId="ADAL" clId="{4491A316-F633-41B6-8B89-4C8AC32E41EE}" dt="2025-05-23T06:07:25.903" v="6533" actId="47"/>
        <pc:sldMkLst>
          <pc:docMk/>
          <pc:sldMk cId="2094351475" sldId="260"/>
        </pc:sldMkLst>
      </pc:sldChg>
      <pc:sldChg chg="del mod modShow">
        <pc:chgData name="Bedel, Yanick Noah" userId="c0f86fc0-9b55-4d74-958a-ff514487524f" providerId="ADAL" clId="{4491A316-F633-41B6-8B89-4C8AC32E41EE}" dt="2025-05-23T06:07:33.675" v="6537" actId="47"/>
        <pc:sldMkLst>
          <pc:docMk/>
          <pc:sldMk cId="683363704" sldId="262"/>
        </pc:sldMkLst>
      </pc:sldChg>
      <pc:sldChg chg="del mod modShow">
        <pc:chgData name="Bedel, Yanick Noah" userId="c0f86fc0-9b55-4d74-958a-ff514487524f" providerId="ADAL" clId="{4491A316-F633-41B6-8B89-4C8AC32E41EE}" dt="2025-05-23T06:07:29.878" v="6536" actId="47"/>
        <pc:sldMkLst>
          <pc:docMk/>
          <pc:sldMk cId="2560366197" sldId="263"/>
        </pc:sldMkLst>
      </pc:sldChg>
      <pc:sldChg chg="addSp delSp modSp add del mod">
        <pc:chgData name="Bedel, Yanick Noah" userId="c0f86fc0-9b55-4d74-958a-ff514487524f" providerId="ADAL" clId="{4491A316-F633-41B6-8B89-4C8AC32E41EE}" dt="2025-05-22T11:49:33.091" v="242" actId="47"/>
        <pc:sldMkLst>
          <pc:docMk/>
          <pc:sldMk cId="2842045975" sldId="578"/>
        </pc:sldMkLst>
      </pc:sldChg>
      <pc:sldChg chg="addSp delSp modSp add del mod">
        <pc:chgData name="Bedel, Yanick Noah" userId="c0f86fc0-9b55-4d74-958a-ff514487524f" providerId="ADAL" clId="{4491A316-F633-41B6-8B89-4C8AC32E41EE}" dt="2025-05-22T12:11:16.970" v="444" actId="47"/>
        <pc:sldMkLst>
          <pc:docMk/>
          <pc:sldMk cId="1395253054" sldId="579"/>
        </pc:sldMkLst>
      </pc:sldChg>
      <pc:sldChg chg="add del">
        <pc:chgData name="Bedel, Yanick Noah" userId="c0f86fc0-9b55-4d74-958a-ff514487524f" providerId="ADAL" clId="{4491A316-F633-41B6-8B89-4C8AC32E41EE}" dt="2025-05-22T15:45:08.292" v="3183" actId="47"/>
        <pc:sldMkLst>
          <pc:docMk/>
          <pc:sldMk cId="132722374" sldId="594"/>
        </pc:sldMkLst>
      </pc:sldChg>
      <pc:sldChg chg="add del ord">
        <pc:chgData name="Bedel, Yanick Noah" userId="c0f86fc0-9b55-4d74-958a-ff514487524f" providerId="ADAL" clId="{4491A316-F633-41B6-8B89-4C8AC32E41EE}" dt="2025-05-22T15:44:23.543" v="3181" actId="47"/>
        <pc:sldMkLst>
          <pc:docMk/>
          <pc:sldMk cId="550918929" sldId="608"/>
        </pc:sldMkLst>
      </pc:sldChg>
      <pc:sldChg chg="modSp add del mod setBg">
        <pc:chgData name="Bedel, Yanick Noah" userId="c0f86fc0-9b55-4d74-958a-ff514487524f" providerId="ADAL" clId="{4491A316-F633-41B6-8B89-4C8AC32E41EE}" dt="2025-05-22T12:46:43.198" v="651" actId="47"/>
        <pc:sldMkLst>
          <pc:docMk/>
          <pc:sldMk cId="1800736723" sldId="615"/>
        </pc:sldMkLst>
      </pc:sldChg>
      <pc:sldChg chg="add del setBg">
        <pc:chgData name="Bedel, Yanick Noah" userId="c0f86fc0-9b55-4d74-958a-ff514487524f" providerId="ADAL" clId="{4491A316-F633-41B6-8B89-4C8AC32E41EE}" dt="2025-05-22T12:11:18.150" v="445" actId="47"/>
        <pc:sldMkLst>
          <pc:docMk/>
          <pc:sldMk cId="189871333" sldId="616"/>
        </pc:sldMkLst>
      </pc:sldChg>
      <pc:sldChg chg="addSp delSp modSp add mod">
        <pc:chgData name="Bedel, Yanick Noah" userId="c0f86fc0-9b55-4d74-958a-ff514487524f" providerId="ADAL" clId="{4491A316-F633-41B6-8B89-4C8AC32E41EE}" dt="2025-05-23T11:26:10.121" v="7624" actId="20577"/>
        <pc:sldMkLst>
          <pc:docMk/>
          <pc:sldMk cId="224690573" sldId="616"/>
        </pc:sldMkLst>
        <pc:spChg chg="mod">
          <ac:chgData name="Bedel, Yanick Noah" userId="c0f86fc0-9b55-4d74-958a-ff514487524f" providerId="ADAL" clId="{4491A316-F633-41B6-8B89-4C8AC32E41EE}" dt="2025-05-22T14:11:35.763" v="1329" actId="692"/>
          <ac:spMkLst>
            <pc:docMk/>
            <pc:sldMk cId="224690573" sldId="616"/>
            <ac:spMk id="2" creationId="{7F8A8E15-9416-548A-D977-90A0320061F4}"/>
          </ac:spMkLst>
        </pc:spChg>
        <pc:spChg chg="add mod">
          <ac:chgData name="Bedel, Yanick Noah" userId="c0f86fc0-9b55-4d74-958a-ff514487524f" providerId="ADAL" clId="{4491A316-F633-41B6-8B89-4C8AC32E41EE}" dt="2025-05-22T12:29:04.411" v="510" actId="1076"/>
          <ac:spMkLst>
            <pc:docMk/>
            <pc:sldMk cId="224690573" sldId="616"/>
            <ac:spMk id="6" creationId="{C05AE120-CB94-354F-9577-14826162E889}"/>
          </ac:spMkLst>
        </pc:spChg>
        <pc:spChg chg="add mod">
          <ac:chgData name="Bedel, Yanick Noah" userId="c0f86fc0-9b55-4d74-958a-ff514487524f" providerId="ADAL" clId="{4491A316-F633-41B6-8B89-4C8AC32E41EE}" dt="2025-05-22T12:29:04.411" v="510" actId="1076"/>
          <ac:spMkLst>
            <pc:docMk/>
            <pc:sldMk cId="224690573" sldId="616"/>
            <ac:spMk id="7" creationId="{E46123CC-4546-3050-2C02-BA04B23B891C}"/>
          </ac:spMkLst>
        </pc:spChg>
        <pc:spChg chg="mod">
          <ac:chgData name="Bedel, Yanick Noah" userId="c0f86fc0-9b55-4d74-958a-ff514487524f" providerId="ADAL" clId="{4491A316-F633-41B6-8B89-4C8AC32E41EE}" dt="2025-05-22T12:40:58.911" v="569" actId="207"/>
          <ac:spMkLst>
            <pc:docMk/>
            <pc:sldMk cId="224690573" sldId="616"/>
            <ac:spMk id="9" creationId="{B0D484EA-2C4F-A1A2-D08B-8B2D15D28362}"/>
          </ac:spMkLst>
        </pc:spChg>
        <pc:spChg chg="mod">
          <ac:chgData name="Bedel, Yanick Noah" userId="c0f86fc0-9b55-4d74-958a-ff514487524f" providerId="ADAL" clId="{4491A316-F633-41B6-8B89-4C8AC32E41EE}" dt="2025-05-23T11:26:10.121" v="7624" actId="20577"/>
          <ac:spMkLst>
            <pc:docMk/>
            <pc:sldMk cId="224690573" sldId="616"/>
            <ac:spMk id="10" creationId="{A15CAEDB-780C-484C-8F6B-3550289EAD0E}"/>
          </ac:spMkLst>
        </pc:spChg>
      </pc:sldChg>
      <pc:sldChg chg="addSp delSp modSp new del mod modAnim">
        <pc:chgData name="Bedel, Yanick Noah" userId="c0f86fc0-9b55-4d74-958a-ff514487524f" providerId="ADAL" clId="{4491A316-F633-41B6-8B89-4C8AC32E41EE}" dt="2025-05-22T13:54:47.438" v="1006" actId="47"/>
        <pc:sldMkLst>
          <pc:docMk/>
          <pc:sldMk cId="1215923087" sldId="617"/>
        </pc:sldMkLst>
      </pc:sldChg>
      <pc:sldChg chg="addSp delSp modSp new del mod delAnim modAnim">
        <pc:chgData name="Bedel, Yanick Noah" userId="c0f86fc0-9b55-4d74-958a-ff514487524f" providerId="ADAL" clId="{4491A316-F633-41B6-8B89-4C8AC32E41EE}" dt="2025-05-22T14:17:35.531" v="1387" actId="47"/>
        <pc:sldMkLst>
          <pc:docMk/>
          <pc:sldMk cId="3794408749" sldId="618"/>
        </pc:sldMkLst>
      </pc:sldChg>
      <pc:sldChg chg="new del">
        <pc:chgData name="Bedel, Yanick Noah" userId="c0f86fc0-9b55-4d74-958a-ff514487524f" providerId="ADAL" clId="{4491A316-F633-41B6-8B89-4C8AC32E41EE}" dt="2025-05-22T14:31:07.347" v="2178" actId="47"/>
        <pc:sldMkLst>
          <pc:docMk/>
          <pc:sldMk cId="118351017" sldId="619"/>
        </pc:sldMkLst>
      </pc:sldChg>
      <pc:sldChg chg="new del">
        <pc:chgData name="Bedel, Yanick Noah" userId="c0f86fc0-9b55-4d74-958a-ff514487524f" providerId="ADAL" clId="{4491A316-F633-41B6-8B89-4C8AC32E41EE}" dt="2025-05-22T14:31:14.576" v="2180" actId="47"/>
        <pc:sldMkLst>
          <pc:docMk/>
          <pc:sldMk cId="1175174472" sldId="620"/>
        </pc:sldMkLst>
      </pc:sldChg>
      <pc:sldChg chg="new del">
        <pc:chgData name="Bedel, Yanick Noah" userId="c0f86fc0-9b55-4d74-958a-ff514487524f" providerId="ADAL" clId="{4491A316-F633-41B6-8B89-4C8AC32E41EE}" dt="2025-05-22T14:31:18.221" v="2182" actId="47"/>
        <pc:sldMkLst>
          <pc:docMk/>
          <pc:sldMk cId="1117231229" sldId="621"/>
        </pc:sldMkLst>
      </pc:sldChg>
      <pc:sldChg chg="new del">
        <pc:chgData name="Bedel, Yanick Noah" userId="c0f86fc0-9b55-4d74-958a-ff514487524f" providerId="ADAL" clId="{4491A316-F633-41B6-8B89-4C8AC32E41EE}" dt="2025-05-22T14:31:21.684" v="2184" actId="47"/>
        <pc:sldMkLst>
          <pc:docMk/>
          <pc:sldMk cId="1205088983" sldId="622"/>
        </pc:sldMkLst>
      </pc:sldChg>
      <pc:sldChg chg="add del">
        <pc:chgData name="Bedel, Yanick Noah" userId="c0f86fc0-9b55-4d74-958a-ff514487524f" providerId="ADAL" clId="{4491A316-F633-41B6-8B89-4C8AC32E41EE}" dt="2025-05-22T15:20:14.458" v="2798" actId="47"/>
        <pc:sldMkLst>
          <pc:docMk/>
          <pc:sldMk cId="3819565133" sldId="633"/>
        </pc:sldMkLst>
      </pc:sldChg>
      <pc:sldChg chg="add del">
        <pc:chgData name="Bedel, Yanick Noah" userId="c0f86fc0-9b55-4d74-958a-ff514487524f" providerId="ADAL" clId="{4491A316-F633-41B6-8B89-4C8AC32E41EE}" dt="2025-05-22T15:56:30.269" v="3352" actId="47"/>
        <pc:sldMkLst>
          <pc:docMk/>
          <pc:sldMk cId="311986854" sldId="645"/>
        </pc:sldMkLst>
      </pc:sldChg>
      <pc:sldChg chg="add del ord">
        <pc:chgData name="Bedel, Yanick Noah" userId="c0f86fc0-9b55-4d74-958a-ff514487524f" providerId="ADAL" clId="{4491A316-F633-41B6-8B89-4C8AC32E41EE}" dt="2025-05-22T15:41:59.278" v="3130" actId="47"/>
        <pc:sldMkLst>
          <pc:docMk/>
          <pc:sldMk cId="3245281281" sldId="651"/>
        </pc:sldMkLst>
      </pc:sldChg>
      <pc:sldChg chg="add del">
        <pc:chgData name="Bedel, Yanick Noah" userId="c0f86fc0-9b55-4d74-958a-ff514487524f" providerId="ADAL" clId="{4491A316-F633-41B6-8B89-4C8AC32E41EE}" dt="2025-05-23T07:47:52.858" v="7278" actId="47"/>
        <pc:sldMkLst>
          <pc:docMk/>
          <pc:sldMk cId="953197028" sldId="659"/>
        </pc:sldMkLst>
      </pc:sldChg>
      <pc:sldChg chg="add del">
        <pc:chgData name="Bedel, Yanick Noah" userId="c0f86fc0-9b55-4d74-958a-ff514487524f" providerId="ADAL" clId="{4491A316-F633-41B6-8B89-4C8AC32E41EE}" dt="2025-05-23T07:43:12.118" v="7110" actId="47"/>
        <pc:sldMkLst>
          <pc:docMk/>
          <pc:sldMk cId="560395621" sldId="667"/>
        </pc:sldMkLst>
      </pc:sldChg>
      <pc:sldChg chg="delSp modSp add del mod">
        <pc:chgData name="Bedel, Yanick Noah" userId="c0f86fc0-9b55-4d74-958a-ff514487524f" providerId="ADAL" clId="{4491A316-F633-41B6-8B89-4C8AC32E41EE}" dt="2025-05-23T07:47:55.221" v="7280" actId="47"/>
        <pc:sldMkLst>
          <pc:docMk/>
          <pc:sldMk cId="3193602766" sldId="679"/>
        </pc:sldMkLst>
      </pc:sldChg>
      <pc:sldChg chg="add del">
        <pc:chgData name="Bedel, Yanick Noah" userId="c0f86fc0-9b55-4d74-958a-ff514487524f" providerId="ADAL" clId="{4491A316-F633-41B6-8B89-4C8AC32E41EE}" dt="2025-05-22T15:44:37.560" v="3182" actId="47"/>
        <pc:sldMkLst>
          <pc:docMk/>
          <pc:sldMk cId="3574665502" sldId="789"/>
        </pc:sldMkLst>
      </pc:sldChg>
      <pc:sldChg chg="delSp modSp add del mod">
        <pc:chgData name="Bedel, Yanick Noah" userId="c0f86fc0-9b55-4d74-958a-ff514487524f" providerId="ADAL" clId="{4491A316-F633-41B6-8B89-4C8AC32E41EE}" dt="2025-05-22T15:56:30.269" v="3352" actId="47"/>
        <pc:sldMkLst>
          <pc:docMk/>
          <pc:sldMk cId="3414302849" sldId="806"/>
        </pc:sldMkLst>
      </pc:sldChg>
      <pc:sldChg chg="delSp add del">
        <pc:chgData name="Bedel, Yanick Noah" userId="c0f86fc0-9b55-4d74-958a-ff514487524f" providerId="ADAL" clId="{4491A316-F633-41B6-8B89-4C8AC32E41EE}" dt="2025-05-22T15:46:35.714" v="3231" actId="47"/>
        <pc:sldMkLst>
          <pc:docMk/>
          <pc:sldMk cId="123076614" sldId="808"/>
        </pc:sldMkLst>
      </pc:sldChg>
      <pc:sldChg chg="modSp add del mod">
        <pc:chgData name="Bedel, Yanick Noah" userId="c0f86fc0-9b55-4d74-958a-ff514487524f" providerId="ADAL" clId="{4491A316-F633-41B6-8B89-4C8AC32E41EE}" dt="2025-05-22T14:13:23.140" v="1330" actId="47"/>
        <pc:sldMkLst>
          <pc:docMk/>
          <pc:sldMk cId="66123266" sldId="831"/>
        </pc:sldMkLst>
      </pc:sldChg>
      <pc:sldChg chg="add del ord">
        <pc:chgData name="Bedel, Yanick Noah" userId="c0f86fc0-9b55-4d74-958a-ff514487524f" providerId="ADAL" clId="{4491A316-F633-41B6-8B89-4C8AC32E41EE}" dt="2025-05-22T14:13:24.920" v="1331" actId="47"/>
        <pc:sldMkLst>
          <pc:docMk/>
          <pc:sldMk cId="3763838562" sldId="834"/>
        </pc:sldMkLst>
      </pc:sldChg>
      <pc:sldChg chg="addSp delSp modSp add mod modTransition delAnim modAnim">
        <pc:chgData name="Bedel, Yanick Noah" userId="c0f86fc0-9b55-4d74-958a-ff514487524f" providerId="ADAL" clId="{4491A316-F633-41B6-8B89-4C8AC32E41EE}" dt="2025-05-23T10:06:34.384" v="7539"/>
        <pc:sldMkLst>
          <pc:docMk/>
          <pc:sldMk cId="2704049841" sldId="835"/>
        </pc:sldMkLst>
        <pc:spChg chg="mod">
          <ac:chgData name="Bedel, Yanick Noah" userId="c0f86fc0-9b55-4d74-958a-ff514487524f" providerId="ADAL" clId="{4491A316-F633-41B6-8B89-4C8AC32E41EE}" dt="2025-05-22T14:59:29.345" v="2366" actId="20577"/>
          <ac:spMkLst>
            <pc:docMk/>
            <pc:sldMk cId="2704049841" sldId="835"/>
            <ac:spMk id="2" creationId="{EC6B09D9-B9FB-EE37-175A-1B7749BF0BD6}"/>
          </ac:spMkLst>
        </pc:spChg>
        <pc:spChg chg="mod">
          <ac:chgData name="Bedel, Yanick Noah" userId="c0f86fc0-9b55-4d74-958a-ff514487524f" providerId="ADAL" clId="{4491A316-F633-41B6-8B89-4C8AC32E41EE}" dt="2025-05-22T14:30:01.321" v="2160" actId="20577"/>
          <ac:spMkLst>
            <pc:docMk/>
            <pc:sldMk cId="2704049841" sldId="835"/>
            <ac:spMk id="6" creationId="{35E5058A-6588-6B68-55EC-A2151FDB1E55}"/>
          </ac:spMkLst>
        </pc:spChg>
      </pc:sldChg>
      <pc:sldChg chg="addSp delSp modSp add del mod delAnim modAnim">
        <pc:chgData name="Bedel, Yanick Noah" userId="c0f86fc0-9b55-4d74-958a-ff514487524f" providerId="ADAL" clId="{4491A316-F633-41B6-8B89-4C8AC32E41EE}" dt="2025-05-23T05:50:27.282" v="5765" actId="47"/>
        <pc:sldMkLst>
          <pc:docMk/>
          <pc:sldMk cId="69426893" sldId="836"/>
        </pc:sldMkLst>
      </pc:sldChg>
      <pc:sldChg chg="addSp modSp add del mod">
        <pc:chgData name="Bedel, Yanick Noah" userId="c0f86fc0-9b55-4d74-958a-ff514487524f" providerId="ADAL" clId="{4491A316-F633-41B6-8B89-4C8AC32E41EE}" dt="2025-05-23T06:55:12.696" v="6838" actId="47"/>
        <pc:sldMkLst>
          <pc:docMk/>
          <pc:sldMk cId="4223179927" sldId="836"/>
        </pc:sldMkLst>
      </pc:sldChg>
      <pc:sldChg chg="add del">
        <pc:chgData name="Bedel, Yanick Noah" userId="c0f86fc0-9b55-4d74-958a-ff514487524f" providerId="ADAL" clId="{4491A316-F633-41B6-8B89-4C8AC32E41EE}" dt="2025-05-22T14:17:38.852" v="1388" actId="47"/>
        <pc:sldMkLst>
          <pc:docMk/>
          <pc:sldMk cId="3231869335" sldId="839"/>
        </pc:sldMkLst>
      </pc:sldChg>
      <pc:sldChg chg="add del">
        <pc:chgData name="Bedel, Yanick Noah" userId="c0f86fc0-9b55-4d74-958a-ff514487524f" providerId="ADAL" clId="{4491A316-F633-41B6-8B89-4C8AC32E41EE}" dt="2025-05-22T14:17:38.852" v="1388" actId="47"/>
        <pc:sldMkLst>
          <pc:docMk/>
          <pc:sldMk cId="1460428770" sldId="840"/>
        </pc:sldMkLst>
      </pc:sldChg>
      <pc:sldChg chg="add del">
        <pc:chgData name="Bedel, Yanick Noah" userId="c0f86fc0-9b55-4d74-958a-ff514487524f" providerId="ADAL" clId="{4491A316-F633-41B6-8B89-4C8AC32E41EE}" dt="2025-05-22T14:17:35.531" v="1387" actId="47"/>
        <pc:sldMkLst>
          <pc:docMk/>
          <pc:sldMk cId="3987191504" sldId="841"/>
        </pc:sldMkLst>
      </pc:sldChg>
      <pc:sldChg chg="addSp delSp modSp add mod ord delAnim modAnim">
        <pc:chgData name="Bedel, Yanick Noah" userId="c0f86fc0-9b55-4d74-958a-ff514487524f" providerId="ADAL" clId="{4491A316-F633-41B6-8B89-4C8AC32E41EE}" dt="2025-05-23T10:05:57.224" v="7537"/>
        <pc:sldMkLst>
          <pc:docMk/>
          <pc:sldMk cId="2692542087" sldId="842"/>
        </pc:sldMkLst>
      </pc:sldChg>
      <pc:sldChg chg="addSp delSp modSp add del mod delAnim modAnim">
        <pc:chgData name="Bedel, Yanick Noah" userId="c0f86fc0-9b55-4d74-958a-ff514487524f" providerId="ADAL" clId="{4491A316-F633-41B6-8B89-4C8AC32E41EE}" dt="2025-05-23T06:52:39.434" v="6814" actId="47"/>
        <pc:sldMkLst>
          <pc:docMk/>
          <pc:sldMk cId="4222758876" sldId="843"/>
        </pc:sldMkLst>
      </pc:sldChg>
      <pc:sldChg chg="addSp delSp modSp add del mod ord">
        <pc:chgData name="Bedel, Yanick Noah" userId="c0f86fc0-9b55-4d74-958a-ff514487524f" providerId="ADAL" clId="{4491A316-F633-41B6-8B89-4C8AC32E41EE}" dt="2025-05-23T07:10:23.366" v="6903" actId="47"/>
        <pc:sldMkLst>
          <pc:docMk/>
          <pc:sldMk cId="1646100221" sldId="844"/>
        </pc:sldMkLst>
      </pc:sldChg>
      <pc:sldChg chg="addSp delSp modSp add mod modAnim">
        <pc:chgData name="Bedel, Yanick Noah" userId="c0f86fc0-9b55-4d74-958a-ff514487524f" providerId="ADAL" clId="{4491A316-F633-41B6-8B89-4C8AC32E41EE}" dt="2025-05-23T07:37:08.557" v="7106" actId="478"/>
        <pc:sldMkLst>
          <pc:docMk/>
          <pc:sldMk cId="1104288681" sldId="845"/>
        </pc:sldMkLst>
      </pc:sldChg>
      <pc:sldChg chg="addSp delSp modSp add mod modAnim">
        <pc:chgData name="Bedel, Yanick Noah" userId="c0f86fc0-9b55-4d74-958a-ff514487524f" providerId="ADAL" clId="{4491A316-F633-41B6-8B89-4C8AC32E41EE}" dt="2025-05-23T09:56:38.927" v="7505" actId="20577"/>
        <pc:sldMkLst>
          <pc:docMk/>
          <pc:sldMk cId="933151716" sldId="846"/>
        </pc:sldMkLst>
      </pc:sldChg>
      <pc:sldChg chg="addSp delSp modSp add mod modAnim">
        <pc:chgData name="Bedel, Yanick Noah" userId="c0f86fc0-9b55-4d74-958a-ff514487524f" providerId="ADAL" clId="{4491A316-F633-41B6-8B89-4C8AC32E41EE}" dt="2025-05-23T08:07:50.561" v="7484"/>
        <pc:sldMkLst>
          <pc:docMk/>
          <pc:sldMk cId="3468982406" sldId="847"/>
        </pc:sldMkLst>
      </pc:sldChg>
      <pc:sldChg chg="addSp modSp add del mod">
        <pc:chgData name="Bedel, Yanick Noah" userId="c0f86fc0-9b55-4d74-958a-ff514487524f" providerId="ADAL" clId="{4491A316-F633-41B6-8B89-4C8AC32E41EE}" dt="2025-05-22T15:56:27.261" v="3351" actId="47"/>
        <pc:sldMkLst>
          <pc:docMk/>
          <pc:sldMk cId="3913224122" sldId="848"/>
        </pc:sldMkLst>
      </pc:sldChg>
      <pc:sldChg chg="add del ord">
        <pc:chgData name="Bedel, Yanick Noah" userId="c0f86fc0-9b55-4d74-958a-ff514487524f" providerId="ADAL" clId="{4491A316-F633-41B6-8B89-4C8AC32E41EE}" dt="2025-05-22T15:43:32.394" v="3135" actId="47"/>
        <pc:sldMkLst>
          <pc:docMk/>
          <pc:sldMk cId="3984876580" sldId="849"/>
        </pc:sldMkLst>
      </pc:sldChg>
      <pc:sldChg chg="addSp delSp modSp add del mod modAnim">
        <pc:chgData name="Bedel, Yanick Noah" userId="c0f86fc0-9b55-4d74-958a-ff514487524f" providerId="ADAL" clId="{4491A316-F633-41B6-8B89-4C8AC32E41EE}" dt="2025-05-23T08:14:14.436" v="7503" actId="20577"/>
        <pc:sldMkLst>
          <pc:docMk/>
          <pc:sldMk cId="4270613589" sldId="849"/>
        </pc:sldMkLst>
      </pc:sldChg>
      <pc:sldChg chg="modSp add del mod">
        <pc:chgData name="Bedel, Yanick Noah" userId="c0f86fc0-9b55-4d74-958a-ff514487524f" providerId="ADAL" clId="{4491A316-F633-41B6-8B89-4C8AC32E41EE}" dt="2025-05-23T05:48:10.342" v="5730" actId="47"/>
        <pc:sldMkLst>
          <pc:docMk/>
          <pc:sldMk cId="364548840" sldId="850"/>
        </pc:sldMkLst>
      </pc:sldChg>
      <pc:sldChg chg="modSp add del mod">
        <pc:chgData name="Bedel, Yanick Noah" userId="c0f86fc0-9b55-4d74-958a-ff514487524f" providerId="ADAL" clId="{4491A316-F633-41B6-8B89-4C8AC32E41EE}" dt="2025-05-23T05:51:02.674" v="5769" actId="47"/>
        <pc:sldMkLst>
          <pc:docMk/>
          <pc:sldMk cId="431346072" sldId="850"/>
        </pc:sldMkLst>
      </pc:sldChg>
      <pc:sldChg chg="add del">
        <pc:chgData name="Bedel, Yanick Noah" userId="c0f86fc0-9b55-4d74-958a-ff514487524f" providerId="ADAL" clId="{4491A316-F633-41B6-8B89-4C8AC32E41EE}" dt="2025-05-22T15:38:56.748" v="3063" actId="47"/>
        <pc:sldMkLst>
          <pc:docMk/>
          <pc:sldMk cId="1531594370" sldId="850"/>
        </pc:sldMkLst>
      </pc:sldChg>
      <pc:sldChg chg="modSp add del mod">
        <pc:chgData name="Bedel, Yanick Noah" userId="c0f86fc0-9b55-4d74-958a-ff514487524f" providerId="ADAL" clId="{4491A316-F633-41B6-8B89-4C8AC32E41EE}" dt="2025-05-23T05:20:15.931" v="4812" actId="47"/>
        <pc:sldMkLst>
          <pc:docMk/>
          <pc:sldMk cId="2573537509" sldId="850"/>
        </pc:sldMkLst>
      </pc:sldChg>
      <pc:sldChg chg="addSp delSp modSp add mod addAnim delAnim modAnim">
        <pc:chgData name="Bedel, Yanick Noah" userId="c0f86fc0-9b55-4d74-958a-ff514487524f" providerId="ADAL" clId="{4491A316-F633-41B6-8B89-4C8AC32E41EE}" dt="2025-05-23T10:05:22.006" v="7536" actId="207"/>
        <pc:sldMkLst>
          <pc:docMk/>
          <pc:sldMk cId="3433168944" sldId="850"/>
        </pc:sldMkLst>
      </pc:sldChg>
      <pc:sldChg chg="addSp modSp add del mod modAnim">
        <pc:chgData name="Bedel, Yanick Noah" userId="c0f86fc0-9b55-4d74-958a-ff514487524f" providerId="ADAL" clId="{4491A316-F633-41B6-8B89-4C8AC32E41EE}" dt="2025-05-23T06:23:26.331" v="6705" actId="47"/>
        <pc:sldMkLst>
          <pc:docMk/>
          <pc:sldMk cId="3507375695" sldId="850"/>
        </pc:sldMkLst>
      </pc:sldChg>
      <pc:sldChg chg="delSp modSp add mod modAnim">
        <pc:chgData name="Bedel, Yanick Noah" userId="c0f86fc0-9b55-4d74-958a-ff514487524f" providerId="ADAL" clId="{4491A316-F633-41B6-8B89-4C8AC32E41EE}" dt="2025-05-23T07:00:45.383" v="6853"/>
        <pc:sldMkLst>
          <pc:docMk/>
          <pc:sldMk cId="590187059" sldId="851"/>
        </pc:sldMkLst>
      </pc:sldChg>
      <pc:sldChg chg="modSp add del mod">
        <pc:chgData name="Bedel, Yanick Noah" userId="c0f86fc0-9b55-4d74-958a-ff514487524f" providerId="ADAL" clId="{4491A316-F633-41B6-8B89-4C8AC32E41EE}" dt="2025-05-23T05:50:30.730" v="5766" actId="47"/>
        <pc:sldMkLst>
          <pc:docMk/>
          <pc:sldMk cId="1223149701" sldId="851"/>
        </pc:sldMkLst>
      </pc:sldChg>
      <pc:sldChg chg="addSp delSp modSp add mod modAnim">
        <pc:chgData name="Bedel, Yanick Noah" userId="c0f86fc0-9b55-4d74-958a-ff514487524f" providerId="ADAL" clId="{4491A316-F633-41B6-8B89-4C8AC32E41EE}" dt="2025-05-23T07:37:01.670" v="7104" actId="478"/>
        <pc:sldMkLst>
          <pc:docMk/>
          <pc:sldMk cId="1242751092" sldId="852"/>
        </pc:sldMkLst>
      </pc:sldChg>
      <pc:sldChg chg="addSp modSp add del mod">
        <pc:chgData name="Bedel, Yanick Noah" userId="c0f86fc0-9b55-4d74-958a-ff514487524f" providerId="ADAL" clId="{4491A316-F633-41B6-8B89-4C8AC32E41EE}" dt="2025-05-23T07:47:53.693" v="7279" actId="47"/>
        <pc:sldMkLst>
          <pc:docMk/>
          <pc:sldMk cId="1099510796" sldId="853"/>
        </pc:sldMkLst>
      </pc:sldChg>
      <pc:sldChg chg="add del">
        <pc:chgData name="Bedel, Yanick Noah" userId="c0f86fc0-9b55-4d74-958a-ff514487524f" providerId="ADAL" clId="{4491A316-F633-41B6-8B89-4C8AC32E41EE}" dt="2025-05-23T11:24:59.646" v="7592" actId="47"/>
        <pc:sldMkLst>
          <pc:docMk/>
          <pc:sldMk cId="1241591625" sldId="853"/>
        </pc:sldMkLst>
      </pc:sldChg>
      <pc:sldChg chg="add del">
        <pc:chgData name="Bedel, Yanick Noah" userId="c0f86fc0-9b55-4d74-958a-ff514487524f" providerId="ADAL" clId="{4491A316-F633-41B6-8B89-4C8AC32E41EE}" dt="2025-05-23T10:19:23.981" v="7557" actId="47"/>
        <pc:sldMkLst>
          <pc:docMk/>
          <pc:sldMk cId="1692916723" sldId="853"/>
        </pc:sldMkLst>
      </pc:sldChg>
      <pc:sldChg chg="add del">
        <pc:chgData name="Bedel, Yanick Noah" userId="c0f86fc0-9b55-4d74-958a-ff514487524f" providerId="ADAL" clId="{4491A316-F633-41B6-8B89-4C8AC32E41EE}" dt="2025-05-23T11:26:25.605" v="7626" actId="47"/>
        <pc:sldMkLst>
          <pc:docMk/>
          <pc:sldMk cId="3598056403" sldId="853"/>
        </pc:sldMkLst>
      </pc:sldChg>
      <pc:sldChg chg="modSp add del">
        <pc:chgData name="Bedel, Yanick Noah" userId="c0f86fc0-9b55-4d74-958a-ff514487524f" providerId="ADAL" clId="{4491A316-F633-41B6-8B89-4C8AC32E41EE}" dt="2025-05-23T07:34:15.644" v="7099" actId="47"/>
        <pc:sldMkLst>
          <pc:docMk/>
          <pc:sldMk cId="4085460951" sldId="853"/>
        </pc:sldMkLst>
      </pc:sldChg>
      <pc:sldChg chg="add">
        <pc:chgData name="Bedel, Yanick Noah" userId="c0f86fc0-9b55-4d74-958a-ff514487524f" providerId="ADAL" clId="{4491A316-F633-41B6-8B89-4C8AC32E41EE}" dt="2025-05-23T11:26:23.775" v="7625"/>
        <pc:sldMkLst>
          <pc:docMk/>
          <pc:sldMk cId="1475770056" sldId="854"/>
        </pc:sldMkLst>
      </pc:sldChg>
      <pc:sldMasterChg chg="addSp modSp mod delSldLayout modSldLayout">
        <pc:chgData name="Bedel, Yanick Noah" userId="c0f86fc0-9b55-4d74-958a-ff514487524f" providerId="ADAL" clId="{4491A316-F633-41B6-8B89-4C8AC32E41EE}" dt="2025-05-23T10:20:19.046" v="7560" actId="12788"/>
        <pc:sldMasterMkLst>
          <pc:docMk/>
          <pc:sldMasterMk cId="2684128550" sldId="2147483648"/>
        </pc:sldMasterMkLst>
        <pc:spChg chg="mod">
          <ac:chgData name="Bedel, Yanick Noah" userId="c0f86fc0-9b55-4d74-958a-ff514487524f" providerId="ADAL" clId="{4491A316-F633-41B6-8B89-4C8AC32E41EE}" dt="2025-05-22T12:45:35.196" v="650" actId="207"/>
          <ac:spMkLst>
            <pc:docMk/>
            <pc:sldMasterMk cId="2684128550" sldId="2147483648"/>
            <ac:spMk id="4" creationId="{2B636285-B3A7-52CB-0CD8-AE7A8CE6C457}"/>
          </ac:spMkLst>
        </pc:spChg>
        <pc:spChg chg="mod">
          <ac:chgData name="Bedel, Yanick Noah" userId="c0f86fc0-9b55-4d74-958a-ff514487524f" providerId="ADAL" clId="{4491A316-F633-41B6-8B89-4C8AC32E41EE}" dt="2025-05-22T12:45:35.196" v="650" actId="207"/>
          <ac:spMkLst>
            <pc:docMk/>
            <pc:sldMasterMk cId="2684128550" sldId="2147483648"/>
            <ac:spMk id="5" creationId="{F11A2C37-C622-A1A9-DAD2-7D1AC49850F0}"/>
          </ac:spMkLst>
        </pc:spChg>
        <pc:spChg chg="mod">
          <ac:chgData name="Bedel, Yanick Noah" userId="c0f86fc0-9b55-4d74-958a-ff514487524f" providerId="ADAL" clId="{4491A316-F633-41B6-8B89-4C8AC32E41EE}" dt="2025-05-22T12:45:35.196" v="650" actId="207"/>
          <ac:spMkLst>
            <pc:docMk/>
            <pc:sldMasterMk cId="2684128550" sldId="2147483648"/>
            <ac:spMk id="6" creationId="{B6B32922-5E28-DA6A-72E5-63B795466B8B}"/>
          </ac:spMkLst>
        </pc:spChg>
        <pc:spChg chg="add mod">
          <ac:chgData name="Bedel, Yanick Noah" userId="c0f86fc0-9b55-4d74-958a-ff514487524f" providerId="ADAL" clId="{4491A316-F633-41B6-8B89-4C8AC32E41EE}" dt="2025-05-22T12:28:56.687" v="509" actId="1076"/>
          <ac:spMkLst>
            <pc:docMk/>
            <pc:sldMasterMk cId="2684128550" sldId="2147483648"/>
            <ac:spMk id="7" creationId="{F21505C0-6AF2-EAD6-9E9B-64FEC2E214FE}"/>
          </ac:spMkLst>
        </pc:spChg>
        <pc:spChg chg="add mod">
          <ac:chgData name="Bedel, Yanick Noah" userId="c0f86fc0-9b55-4d74-958a-ff514487524f" providerId="ADAL" clId="{4491A316-F633-41B6-8B89-4C8AC32E41EE}" dt="2025-05-22T12:28:56.687" v="509" actId="1076"/>
          <ac:spMkLst>
            <pc:docMk/>
            <pc:sldMasterMk cId="2684128550" sldId="2147483648"/>
            <ac:spMk id="8" creationId="{0BD88645-7CC2-85A4-89FE-ECEB43645671}"/>
          </ac:spMkLst>
        </pc:spChg>
        <pc:cxnChg chg="add mod">
          <ac:chgData name="Bedel, Yanick Noah" userId="c0f86fc0-9b55-4d74-958a-ff514487524f" providerId="ADAL" clId="{4491A316-F633-41B6-8B89-4C8AC32E41EE}" dt="2025-05-22T12:43:43.605" v="648" actId="208"/>
          <ac:cxnSpMkLst>
            <pc:docMk/>
            <pc:sldMasterMk cId="2684128550" sldId="2147483648"/>
            <ac:cxnSpMk id="10" creationId="{52E2D653-5222-4434-14EB-F4D3C867532B}"/>
          </ac:cxnSpMkLst>
        </pc:cxnChg>
        <pc:sldLayoutChg chg="modSp mod">
          <pc:chgData name="Bedel, Yanick Noah" userId="c0f86fc0-9b55-4d74-958a-ff514487524f" providerId="ADAL" clId="{4491A316-F633-41B6-8B89-4C8AC32E41EE}" dt="2025-05-23T10:20:19.046" v="7560" actId="12788"/>
          <pc:sldLayoutMkLst>
            <pc:docMk/>
            <pc:sldMasterMk cId="2684128550" sldId="2147483648"/>
            <pc:sldLayoutMk cId="719778185" sldId="2147483650"/>
          </pc:sldLayoutMkLst>
          <pc:spChg chg="mod">
            <ac:chgData name="Bedel, Yanick Noah" userId="c0f86fc0-9b55-4d74-958a-ff514487524f" providerId="ADAL" clId="{4491A316-F633-41B6-8B89-4C8AC32E41EE}" dt="2025-05-22T12:45:24.182" v="649" actId="207"/>
            <ac:spMkLst>
              <pc:docMk/>
              <pc:sldMasterMk cId="2684128550" sldId="2147483648"/>
              <pc:sldLayoutMk cId="719778185" sldId="2147483650"/>
              <ac:spMk id="4" creationId="{D3669856-300F-79AF-2653-C5E9CB6796FA}"/>
            </ac:spMkLst>
          </pc:spChg>
          <pc:spChg chg="mod">
            <ac:chgData name="Bedel, Yanick Noah" userId="c0f86fc0-9b55-4d74-958a-ff514487524f" providerId="ADAL" clId="{4491A316-F633-41B6-8B89-4C8AC32E41EE}" dt="2025-05-23T10:20:19.046" v="7560" actId="12788"/>
            <ac:spMkLst>
              <pc:docMk/>
              <pc:sldMasterMk cId="2684128550" sldId="2147483648"/>
              <pc:sldLayoutMk cId="719778185" sldId="2147483650"/>
              <ac:spMk id="5" creationId="{81384023-AA65-D62E-104F-C87A18F7D728}"/>
            </ac:spMkLst>
          </pc:spChg>
          <pc:spChg chg="mod">
            <ac:chgData name="Bedel, Yanick Noah" userId="c0f86fc0-9b55-4d74-958a-ff514487524f" providerId="ADAL" clId="{4491A316-F633-41B6-8B89-4C8AC32E41EE}" dt="2025-05-22T12:45:24.182" v="649" actId="207"/>
            <ac:spMkLst>
              <pc:docMk/>
              <pc:sldMasterMk cId="2684128550" sldId="2147483648"/>
              <pc:sldLayoutMk cId="719778185" sldId="2147483650"/>
              <ac:spMk id="6" creationId="{E2ED32BE-9756-C9D1-C9E6-F25EFA2BDDC7}"/>
            </ac:spMkLst>
          </pc:spChg>
        </pc:sldLayoutChg>
        <pc:sldLayoutChg chg="del">
          <pc:chgData name="Bedel, Yanick Noah" userId="c0f86fc0-9b55-4d74-958a-ff514487524f" providerId="ADAL" clId="{4491A316-F633-41B6-8B89-4C8AC32E41EE}" dt="2025-05-22T12:11:16.970" v="444" actId="47"/>
          <pc:sldLayoutMkLst>
            <pc:docMk/>
            <pc:sldMasterMk cId="2684128550" sldId="2147483648"/>
            <pc:sldLayoutMk cId="342124717" sldId="2147483660"/>
          </pc:sldLayoutMkLst>
        </pc:sldLayoutChg>
      </pc:sldMasterChg>
      <pc:sldMasterChg chg="del delSldLayout">
        <pc:chgData name="Bedel, Yanick Noah" userId="c0f86fc0-9b55-4d74-958a-ff514487524f" providerId="ADAL" clId="{4491A316-F633-41B6-8B89-4C8AC32E41EE}" dt="2025-05-22T14:13:24.920" v="1331" actId="47"/>
        <pc:sldMasterMkLst>
          <pc:docMk/>
          <pc:sldMasterMk cId="252808396" sldId="2147483675"/>
        </pc:sldMasterMkLst>
        <pc:sldLayoutChg chg="del">
          <pc:chgData name="Bedel, Yanick Noah" userId="c0f86fc0-9b55-4d74-958a-ff514487524f" providerId="ADAL" clId="{4491A316-F633-41B6-8B89-4C8AC32E41EE}" dt="2025-05-22T14:13:24.920" v="1331" actId="47"/>
          <pc:sldLayoutMkLst>
            <pc:docMk/>
            <pc:sldMasterMk cId="252808396" sldId="2147483675"/>
            <pc:sldLayoutMk cId="3590907984" sldId="2147483676"/>
          </pc:sldLayoutMkLst>
        </pc:sldLayoutChg>
        <pc:sldLayoutChg chg="del">
          <pc:chgData name="Bedel, Yanick Noah" userId="c0f86fc0-9b55-4d74-958a-ff514487524f" providerId="ADAL" clId="{4491A316-F633-41B6-8B89-4C8AC32E41EE}" dt="2025-05-22T14:13:24.920" v="1331" actId="47"/>
          <pc:sldLayoutMkLst>
            <pc:docMk/>
            <pc:sldMasterMk cId="252808396" sldId="2147483675"/>
            <pc:sldLayoutMk cId="3060821631" sldId="2147483677"/>
          </pc:sldLayoutMkLst>
        </pc:sldLayoutChg>
        <pc:sldLayoutChg chg="del">
          <pc:chgData name="Bedel, Yanick Noah" userId="c0f86fc0-9b55-4d74-958a-ff514487524f" providerId="ADAL" clId="{4491A316-F633-41B6-8B89-4C8AC32E41EE}" dt="2025-05-22T14:13:24.920" v="1331" actId="47"/>
          <pc:sldLayoutMkLst>
            <pc:docMk/>
            <pc:sldMasterMk cId="252808396" sldId="2147483675"/>
            <pc:sldLayoutMk cId="992910195" sldId="2147483678"/>
          </pc:sldLayoutMkLst>
        </pc:sldLayoutChg>
        <pc:sldLayoutChg chg="del">
          <pc:chgData name="Bedel, Yanick Noah" userId="c0f86fc0-9b55-4d74-958a-ff514487524f" providerId="ADAL" clId="{4491A316-F633-41B6-8B89-4C8AC32E41EE}" dt="2025-05-22T14:13:24.920" v="1331" actId="47"/>
          <pc:sldLayoutMkLst>
            <pc:docMk/>
            <pc:sldMasterMk cId="252808396" sldId="2147483675"/>
            <pc:sldLayoutMk cId="3651311441" sldId="2147483679"/>
          </pc:sldLayoutMkLst>
        </pc:sldLayoutChg>
        <pc:sldLayoutChg chg="del">
          <pc:chgData name="Bedel, Yanick Noah" userId="c0f86fc0-9b55-4d74-958a-ff514487524f" providerId="ADAL" clId="{4491A316-F633-41B6-8B89-4C8AC32E41EE}" dt="2025-05-22T14:13:24.920" v="1331" actId="47"/>
          <pc:sldLayoutMkLst>
            <pc:docMk/>
            <pc:sldMasterMk cId="252808396" sldId="2147483675"/>
            <pc:sldLayoutMk cId="1648365516" sldId="2147483680"/>
          </pc:sldLayoutMkLst>
        </pc:sldLayoutChg>
        <pc:sldLayoutChg chg="del">
          <pc:chgData name="Bedel, Yanick Noah" userId="c0f86fc0-9b55-4d74-958a-ff514487524f" providerId="ADAL" clId="{4491A316-F633-41B6-8B89-4C8AC32E41EE}" dt="2025-05-22T14:13:24.920" v="1331" actId="47"/>
          <pc:sldLayoutMkLst>
            <pc:docMk/>
            <pc:sldMasterMk cId="252808396" sldId="2147483675"/>
            <pc:sldLayoutMk cId="709573863" sldId="2147483681"/>
          </pc:sldLayoutMkLst>
        </pc:sldLayoutChg>
        <pc:sldLayoutChg chg="del">
          <pc:chgData name="Bedel, Yanick Noah" userId="c0f86fc0-9b55-4d74-958a-ff514487524f" providerId="ADAL" clId="{4491A316-F633-41B6-8B89-4C8AC32E41EE}" dt="2025-05-22T14:13:24.920" v="1331" actId="47"/>
          <pc:sldLayoutMkLst>
            <pc:docMk/>
            <pc:sldMasterMk cId="252808396" sldId="2147483675"/>
            <pc:sldLayoutMk cId="297302037" sldId="2147483682"/>
          </pc:sldLayoutMkLst>
        </pc:sldLayoutChg>
        <pc:sldLayoutChg chg="del">
          <pc:chgData name="Bedel, Yanick Noah" userId="c0f86fc0-9b55-4d74-958a-ff514487524f" providerId="ADAL" clId="{4491A316-F633-41B6-8B89-4C8AC32E41EE}" dt="2025-05-22T14:13:24.920" v="1331" actId="47"/>
          <pc:sldLayoutMkLst>
            <pc:docMk/>
            <pc:sldMasterMk cId="252808396" sldId="2147483675"/>
            <pc:sldLayoutMk cId="473244174" sldId="2147483683"/>
          </pc:sldLayoutMkLst>
        </pc:sldLayoutChg>
        <pc:sldLayoutChg chg="del">
          <pc:chgData name="Bedel, Yanick Noah" userId="c0f86fc0-9b55-4d74-958a-ff514487524f" providerId="ADAL" clId="{4491A316-F633-41B6-8B89-4C8AC32E41EE}" dt="2025-05-22T14:13:24.920" v="1331" actId="47"/>
          <pc:sldLayoutMkLst>
            <pc:docMk/>
            <pc:sldMasterMk cId="252808396" sldId="2147483675"/>
            <pc:sldLayoutMk cId="1609770070" sldId="2147483684"/>
          </pc:sldLayoutMkLst>
        </pc:sldLayoutChg>
        <pc:sldLayoutChg chg="del">
          <pc:chgData name="Bedel, Yanick Noah" userId="c0f86fc0-9b55-4d74-958a-ff514487524f" providerId="ADAL" clId="{4491A316-F633-41B6-8B89-4C8AC32E41EE}" dt="2025-05-22T14:13:24.920" v="1331" actId="47"/>
          <pc:sldLayoutMkLst>
            <pc:docMk/>
            <pc:sldMasterMk cId="252808396" sldId="2147483675"/>
            <pc:sldLayoutMk cId="3219280048" sldId="2147483685"/>
          </pc:sldLayoutMkLst>
        </pc:sldLayoutChg>
        <pc:sldLayoutChg chg="del">
          <pc:chgData name="Bedel, Yanick Noah" userId="c0f86fc0-9b55-4d74-958a-ff514487524f" providerId="ADAL" clId="{4491A316-F633-41B6-8B89-4C8AC32E41EE}" dt="2025-05-22T14:13:24.920" v="1331" actId="47"/>
          <pc:sldLayoutMkLst>
            <pc:docMk/>
            <pc:sldMasterMk cId="252808396" sldId="2147483675"/>
            <pc:sldLayoutMk cId="311807677" sldId="2147483686"/>
          </pc:sldLayoutMkLst>
        </pc:sldLayoutChg>
      </pc:sldMasterChg>
      <pc:sldMasterChg chg="del delSldLayout">
        <pc:chgData name="Bedel, Yanick Noah" userId="c0f86fc0-9b55-4d74-958a-ff514487524f" providerId="ADAL" clId="{4491A316-F633-41B6-8B89-4C8AC32E41EE}" dt="2025-05-22T15:56:30.269" v="3352" actId="47"/>
        <pc:sldMasterMkLst>
          <pc:docMk/>
          <pc:sldMasterMk cId="1291178731" sldId="2147483675"/>
        </pc:sldMasterMkLst>
        <pc:sldLayoutChg chg="del">
          <pc:chgData name="Bedel, Yanick Noah" userId="c0f86fc0-9b55-4d74-958a-ff514487524f" providerId="ADAL" clId="{4491A316-F633-41B6-8B89-4C8AC32E41EE}" dt="2025-05-22T15:56:30.269" v="3352" actId="47"/>
          <pc:sldLayoutMkLst>
            <pc:docMk/>
            <pc:sldMasterMk cId="1291178731" sldId="2147483675"/>
            <pc:sldLayoutMk cId="3813005161" sldId="2147483676"/>
          </pc:sldLayoutMkLst>
        </pc:sldLayoutChg>
        <pc:sldLayoutChg chg="del">
          <pc:chgData name="Bedel, Yanick Noah" userId="c0f86fc0-9b55-4d74-958a-ff514487524f" providerId="ADAL" clId="{4491A316-F633-41B6-8B89-4C8AC32E41EE}" dt="2025-05-22T15:56:30.269" v="3352" actId="47"/>
          <pc:sldLayoutMkLst>
            <pc:docMk/>
            <pc:sldMasterMk cId="1291178731" sldId="2147483675"/>
            <pc:sldLayoutMk cId="2795720528" sldId="2147483677"/>
          </pc:sldLayoutMkLst>
        </pc:sldLayoutChg>
        <pc:sldLayoutChg chg="del">
          <pc:chgData name="Bedel, Yanick Noah" userId="c0f86fc0-9b55-4d74-958a-ff514487524f" providerId="ADAL" clId="{4491A316-F633-41B6-8B89-4C8AC32E41EE}" dt="2025-05-22T15:56:30.269" v="3352" actId="47"/>
          <pc:sldLayoutMkLst>
            <pc:docMk/>
            <pc:sldMasterMk cId="1291178731" sldId="2147483675"/>
            <pc:sldLayoutMk cId="3257198158" sldId="2147483678"/>
          </pc:sldLayoutMkLst>
        </pc:sldLayoutChg>
        <pc:sldLayoutChg chg="del">
          <pc:chgData name="Bedel, Yanick Noah" userId="c0f86fc0-9b55-4d74-958a-ff514487524f" providerId="ADAL" clId="{4491A316-F633-41B6-8B89-4C8AC32E41EE}" dt="2025-05-22T15:56:30.269" v="3352" actId="47"/>
          <pc:sldLayoutMkLst>
            <pc:docMk/>
            <pc:sldMasterMk cId="1291178731" sldId="2147483675"/>
            <pc:sldLayoutMk cId="3038633973" sldId="2147483679"/>
          </pc:sldLayoutMkLst>
        </pc:sldLayoutChg>
        <pc:sldLayoutChg chg="del">
          <pc:chgData name="Bedel, Yanick Noah" userId="c0f86fc0-9b55-4d74-958a-ff514487524f" providerId="ADAL" clId="{4491A316-F633-41B6-8B89-4C8AC32E41EE}" dt="2025-05-22T15:56:30.269" v="3352" actId="47"/>
          <pc:sldLayoutMkLst>
            <pc:docMk/>
            <pc:sldMasterMk cId="1291178731" sldId="2147483675"/>
            <pc:sldLayoutMk cId="3097243455" sldId="2147483680"/>
          </pc:sldLayoutMkLst>
        </pc:sldLayoutChg>
        <pc:sldLayoutChg chg="del">
          <pc:chgData name="Bedel, Yanick Noah" userId="c0f86fc0-9b55-4d74-958a-ff514487524f" providerId="ADAL" clId="{4491A316-F633-41B6-8B89-4C8AC32E41EE}" dt="2025-05-22T15:56:30.269" v="3352" actId="47"/>
          <pc:sldLayoutMkLst>
            <pc:docMk/>
            <pc:sldMasterMk cId="1291178731" sldId="2147483675"/>
            <pc:sldLayoutMk cId="4252708773" sldId="2147483681"/>
          </pc:sldLayoutMkLst>
        </pc:sldLayoutChg>
        <pc:sldLayoutChg chg="del">
          <pc:chgData name="Bedel, Yanick Noah" userId="c0f86fc0-9b55-4d74-958a-ff514487524f" providerId="ADAL" clId="{4491A316-F633-41B6-8B89-4C8AC32E41EE}" dt="2025-05-22T15:56:30.269" v="3352" actId="47"/>
          <pc:sldLayoutMkLst>
            <pc:docMk/>
            <pc:sldMasterMk cId="1291178731" sldId="2147483675"/>
            <pc:sldLayoutMk cId="2162441279" sldId="2147483682"/>
          </pc:sldLayoutMkLst>
        </pc:sldLayoutChg>
        <pc:sldLayoutChg chg="del">
          <pc:chgData name="Bedel, Yanick Noah" userId="c0f86fc0-9b55-4d74-958a-ff514487524f" providerId="ADAL" clId="{4491A316-F633-41B6-8B89-4C8AC32E41EE}" dt="2025-05-22T15:56:30.269" v="3352" actId="47"/>
          <pc:sldLayoutMkLst>
            <pc:docMk/>
            <pc:sldMasterMk cId="1291178731" sldId="2147483675"/>
            <pc:sldLayoutMk cId="2575453336" sldId="2147483683"/>
          </pc:sldLayoutMkLst>
        </pc:sldLayoutChg>
        <pc:sldLayoutChg chg="del">
          <pc:chgData name="Bedel, Yanick Noah" userId="c0f86fc0-9b55-4d74-958a-ff514487524f" providerId="ADAL" clId="{4491A316-F633-41B6-8B89-4C8AC32E41EE}" dt="2025-05-22T15:56:30.269" v="3352" actId="47"/>
          <pc:sldLayoutMkLst>
            <pc:docMk/>
            <pc:sldMasterMk cId="1291178731" sldId="2147483675"/>
            <pc:sldLayoutMk cId="1523491537" sldId="2147483684"/>
          </pc:sldLayoutMkLst>
        </pc:sldLayoutChg>
        <pc:sldLayoutChg chg="del">
          <pc:chgData name="Bedel, Yanick Noah" userId="c0f86fc0-9b55-4d74-958a-ff514487524f" providerId="ADAL" clId="{4491A316-F633-41B6-8B89-4C8AC32E41EE}" dt="2025-05-22T15:56:30.269" v="3352" actId="47"/>
          <pc:sldLayoutMkLst>
            <pc:docMk/>
            <pc:sldMasterMk cId="1291178731" sldId="2147483675"/>
            <pc:sldLayoutMk cId="311412190" sldId="2147483685"/>
          </pc:sldLayoutMkLst>
        </pc:sldLayoutChg>
        <pc:sldLayoutChg chg="del">
          <pc:chgData name="Bedel, Yanick Noah" userId="c0f86fc0-9b55-4d74-958a-ff514487524f" providerId="ADAL" clId="{4491A316-F633-41B6-8B89-4C8AC32E41EE}" dt="2025-05-22T15:56:30.269" v="3352" actId="47"/>
          <pc:sldLayoutMkLst>
            <pc:docMk/>
            <pc:sldMasterMk cId="1291178731" sldId="2147483675"/>
            <pc:sldLayoutMk cId="3522726853" sldId="2147483686"/>
          </pc:sldLayoutMkLst>
        </pc:sldLayoutChg>
        <pc:sldLayoutChg chg="del">
          <pc:chgData name="Bedel, Yanick Noah" userId="c0f86fc0-9b55-4d74-958a-ff514487524f" providerId="ADAL" clId="{4491A316-F633-41B6-8B89-4C8AC32E41EE}" dt="2025-05-22T15:56:30.269" v="3352" actId="47"/>
          <pc:sldLayoutMkLst>
            <pc:docMk/>
            <pc:sldMasterMk cId="1291178731" sldId="2147483675"/>
            <pc:sldLayoutMk cId="1148053250" sldId="2147483687"/>
          </pc:sldLayoutMkLst>
        </pc:sldLayoutChg>
        <pc:sldLayoutChg chg="del">
          <pc:chgData name="Bedel, Yanick Noah" userId="c0f86fc0-9b55-4d74-958a-ff514487524f" providerId="ADAL" clId="{4491A316-F633-41B6-8B89-4C8AC32E41EE}" dt="2025-05-22T15:56:30.269" v="3352" actId="47"/>
          <pc:sldLayoutMkLst>
            <pc:docMk/>
            <pc:sldMasterMk cId="1291178731" sldId="2147483675"/>
            <pc:sldLayoutMk cId="1217728953" sldId="2147483688"/>
          </pc:sldLayoutMkLst>
        </pc:sldLayoutChg>
        <pc:sldLayoutChg chg="del">
          <pc:chgData name="Bedel, Yanick Noah" userId="c0f86fc0-9b55-4d74-958a-ff514487524f" providerId="ADAL" clId="{4491A316-F633-41B6-8B89-4C8AC32E41EE}" dt="2025-05-22T15:56:30.269" v="3352" actId="47"/>
          <pc:sldLayoutMkLst>
            <pc:docMk/>
            <pc:sldMasterMk cId="1291178731" sldId="2147483675"/>
            <pc:sldLayoutMk cId="1555409199" sldId="2147483689"/>
          </pc:sldLayoutMkLst>
        </pc:sldLayoutChg>
        <pc:sldLayoutChg chg="del">
          <pc:chgData name="Bedel, Yanick Noah" userId="c0f86fc0-9b55-4d74-958a-ff514487524f" providerId="ADAL" clId="{4491A316-F633-41B6-8B89-4C8AC32E41EE}" dt="2025-05-22T15:56:30.269" v="3352" actId="47"/>
          <pc:sldLayoutMkLst>
            <pc:docMk/>
            <pc:sldMasterMk cId="1291178731" sldId="2147483675"/>
            <pc:sldLayoutMk cId="775827507" sldId="2147483690"/>
          </pc:sldLayoutMkLst>
        </pc:sldLayoutChg>
        <pc:sldLayoutChg chg="del">
          <pc:chgData name="Bedel, Yanick Noah" userId="c0f86fc0-9b55-4d74-958a-ff514487524f" providerId="ADAL" clId="{4491A316-F633-41B6-8B89-4C8AC32E41EE}" dt="2025-05-22T15:56:30.269" v="3352" actId="47"/>
          <pc:sldLayoutMkLst>
            <pc:docMk/>
            <pc:sldMasterMk cId="1291178731" sldId="2147483675"/>
            <pc:sldLayoutMk cId="3273958331" sldId="2147483691"/>
          </pc:sldLayoutMkLst>
        </pc:sldLayoutChg>
        <pc:sldLayoutChg chg="del">
          <pc:chgData name="Bedel, Yanick Noah" userId="c0f86fc0-9b55-4d74-958a-ff514487524f" providerId="ADAL" clId="{4491A316-F633-41B6-8B89-4C8AC32E41EE}" dt="2025-05-22T15:56:30.269" v="3352" actId="47"/>
          <pc:sldLayoutMkLst>
            <pc:docMk/>
            <pc:sldMasterMk cId="1291178731" sldId="2147483675"/>
            <pc:sldLayoutMk cId="4142054258" sldId="2147483692"/>
          </pc:sldLayoutMkLst>
        </pc:sldLayoutChg>
        <pc:sldLayoutChg chg="del">
          <pc:chgData name="Bedel, Yanick Noah" userId="c0f86fc0-9b55-4d74-958a-ff514487524f" providerId="ADAL" clId="{4491A316-F633-41B6-8B89-4C8AC32E41EE}" dt="2025-05-22T15:56:30.269" v="3352" actId="47"/>
          <pc:sldLayoutMkLst>
            <pc:docMk/>
            <pc:sldMasterMk cId="1291178731" sldId="2147483675"/>
            <pc:sldLayoutMk cId="3299068401" sldId="2147483693"/>
          </pc:sldLayoutMkLst>
        </pc:sldLayoutChg>
        <pc:sldLayoutChg chg="del">
          <pc:chgData name="Bedel, Yanick Noah" userId="c0f86fc0-9b55-4d74-958a-ff514487524f" providerId="ADAL" clId="{4491A316-F633-41B6-8B89-4C8AC32E41EE}" dt="2025-05-22T15:56:30.269" v="3352" actId="47"/>
          <pc:sldLayoutMkLst>
            <pc:docMk/>
            <pc:sldMasterMk cId="1291178731" sldId="2147483675"/>
            <pc:sldLayoutMk cId="1352336055" sldId="2147483694"/>
          </pc:sldLayoutMkLst>
        </pc:sldLayoutChg>
        <pc:sldLayoutChg chg="del">
          <pc:chgData name="Bedel, Yanick Noah" userId="c0f86fc0-9b55-4d74-958a-ff514487524f" providerId="ADAL" clId="{4491A316-F633-41B6-8B89-4C8AC32E41EE}" dt="2025-05-22T15:56:30.269" v="3352" actId="47"/>
          <pc:sldLayoutMkLst>
            <pc:docMk/>
            <pc:sldMasterMk cId="1291178731" sldId="2147483675"/>
            <pc:sldLayoutMk cId="3821942706" sldId="2147483695"/>
          </pc:sldLayoutMkLst>
        </pc:sldLayoutChg>
        <pc:sldLayoutChg chg="del">
          <pc:chgData name="Bedel, Yanick Noah" userId="c0f86fc0-9b55-4d74-958a-ff514487524f" providerId="ADAL" clId="{4491A316-F633-41B6-8B89-4C8AC32E41EE}" dt="2025-05-22T15:56:30.269" v="3352" actId="47"/>
          <pc:sldLayoutMkLst>
            <pc:docMk/>
            <pc:sldMasterMk cId="1291178731" sldId="2147483675"/>
            <pc:sldLayoutMk cId="975299744" sldId="2147483696"/>
          </pc:sldLayoutMkLst>
        </pc:sldLayoutChg>
        <pc:sldLayoutChg chg="del">
          <pc:chgData name="Bedel, Yanick Noah" userId="c0f86fc0-9b55-4d74-958a-ff514487524f" providerId="ADAL" clId="{4491A316-F633-41B6-8B89-4C8AC32E41EE}" dt="2025-05-22T15:56:30.269" v="3352" actId="47"/>
          <pc:sldLayoutMkLst>
            <pc:docMk/>
            <pc:sldMasterMk cId="1291178731" sldId="2147483675"/>
            <pc:sldLayoutMk cId="2209601984" sldId="2147483697"/>
          </pc:sldLayoutMkLst>
        </pc:sldLayoutChg>
        <pc:sldLayoutChg chg="del">
          <pc:chgData name="Bedel, Yanick Noah" userId="c0f86fc0-9b55-4d74-958a-ff514487524f" providerId="ADAL" clId="{4491A316-F633-41B6-8B89-4C8AC32E41EE}" dt="2025-05-22T15:56:30.269" v="3352" actId="47"/>
          <pc:sldLayoutMkLst>
            <pc:docMk/>
            <pc:sldMasterMk cId="1291178731" sldId="2147483675"/>
            <pc:sldLayoutMk cId="1134946270" sldId="2147483698"/>
          </pc:sldLayoutMkLst>
        </pc:sldLayoutChg>
        <pc:sldLayoutChg chg="del">
          <pc:chgData name="Bedel, Yanick Noah" userId="c0f86fc0-9b55-4d74-958a-ff514487524f" providerId="ADAL" clId="{4491A316-F633-41B6-8B89-4C8AC32E41EE}" dt="2025-05-22T15:56:30.269" v="3352" actId="47"/>
          <pc:sldLayoutMkLst>
            <pc:docMk/>
            <pc:sldMasterMk cId="1291178731" sldId="2147483675"/>
            <pc:sldLayoutMk cId="706012788" sldId="2147483699"/>
          </pc:sldLayoutMkLst>
        </pc:sldLayoutChg>
        <pc:sldLayoutChg chg="del">
          <pc:chgData name="Bedel, Yanick Noah" userId="c0f86fc0-9b55-4d74-958a-ff514487524f" providerId="ADAL" clId="{4491A316-F633-41B6-8B89-4C8AC32E41EE}" dt="2025-05-22T15:56:30.269" v="3352" actId="47"/>
          <pc:sldLayoutMkLst>
            <pc:docMk/>
            <pc:sldMasterMk cId="1291178731" sldId="2147483675"/>
            <pc:sldLayoutMk cId="3788097756" sldId="2147483700"/>
          </pc:sldLayoutMkLst>
        </pc:sldLayoutChg>
        <pc:sldLayoutChg chg="del">
          <pc:chgData name="Bedel, Yanick Noah" userId="c0f86fc0-9b55-4d74-958a-ff514487524f" providerId="ADAL" clId="{4491A316-F633-41B6-8B89-4C8AC32E41EE}" dt="2025-05-22T15:56:30.269" v="3352" actId="47"/>
          <pc:sldLayoutMkLst>
            <pc:docMk/>
            <pc:sldMasterMk cId="1291178731" sldId="2147483675"/>
            <pc:sldLayoutMk cId="2808239042" sldId="2147483701"/>
          </pc:sldLayoutMkLst>
        </pc:sldLayoutChg>
        <pc:sldLayoutChg chg="del">
          <pc:chgData name="Bedel, Yanick Noah" userId="c0f86fc0-9b55-4d74-958a-ff514487524f" providerId="ADAL" clId="{4491A316-F633-41B6-8B89-4C8AC32E41EE}" dt="2025-05-22T15:56:30.269" v="3352" actId="47"/>
          <pc:sldLayoutMkLst>
            <pc:docMk/>
            <pc:sldMasterMk cId="1291178731" sldId="2147483675"/>
            <pc:sldLayoutMk cId="2954745884" sldId="2147483702"/>
          </pc:sldLayoutMkLst>
        </pc:sldLayoutChg>
        <pc:sldLayoutChg chg="del">
          <pc:chgData name="Bedel, Yanick Noah" userId="c0f86fc0-9b55-4d74-958a-ff514487524f" providerId="ADAL" clId="{4491A316-F633-41B6-8B89-4C8AC32E41EE}" dt="2025-05-22T15:56:30.269" v="3352" actId="47"/>
          <pc:sldLayoutMkLst>
            <pc:docMk/>
            <pc:sldMasterMk cId="1291178731" sldId="2147483675"/>
            <pc:sldLayoutMk cId="1344764753" sldId="2147483703"/>
          </pc:sldLayoutMkLst>
        </pc:sldLayoutChg>
      </pc:sldMasterChg>
      <pc:sldMasterChg chg="del delSldLayout">
        <pc:chgData name="Bedel, Yanick Noah" userId="c0f86fc0-9b55-4d74-958a-ff514487524f" providerId="ADAL" clId="{4491A316-F633-41B6-8B89-4C8AC32E41EE}" dt="2025-05-22T15:20:14.458" v="2798" actId="47"/>
        <pc:sldMasterMkLst>
          <pc:docMk/>
          <pc:sldMasterMk cId="1959956004" sldId="2147483675"/>
        </pc:sldMasterMkLst>
        <pc:sldLayoutChg chg="del">
          <pc:chgData name="Bedel, Yanick Noah" userId="c0f86fc0-9b55-4d74-958a-ff514487524f" providerId="ADAL" clId="{4491A316-F633-41B6-8B89-4C8AC32E41EE}" dt="2025-05-22T15:20:14.458" v="2798" actId="47"/>
          <pc:sldLayoutMkLst>
            <pc:docMk/>
            <pc:sldMasterMk cId="1959956004" sldId="2147483675"/>
            <pc:sldLayoutMk cId="3056984674" sldId="2147483676"/>
          </pc:sldLayoutMkLst>
        </pc:sldLayoutChg>
        <pc:sldLayoutChg chg="del">
          <pc:chgData name="Bedel, Yanick Noah" userId="c0f86fc0-9b55-4d74-958a-ff514487524f" providerId="ADAL" clId="{4491A316-F633-41B6-8B89-4C8AC32E41EE}" dt="2025-05-22T15:20:14.458" v="2798" actId="47"/>
          <pc:sldLayoutMkLst>
            <pc:docMk/>
            <pc:sldMasterMk cId="1959956004" sldId="2147483675"/>
            <pc:sldLayoutMk cId="2473886594" sldId="2147483677"/>
          </pc:sldLayoutMkLst>
        </pc:sldLayoutChg>
        <pc:sldLayoutChg chg="del">
          <pc:chgData name="Bedel, Yanick Noah" userId="c0f86fc0-9b55-4d74-958a-ff514487524f" providerId="ADAL" clId="{4491A316-F633-41B6-8B89-4C8AC32E41EE}" dt="2025-05-22T15:20:14.458" v="2798" actId="47"/>
          <pc:sldLayoutMkLst>
            <pc:docMk/>
            <pc:sldMasterMk cId="1959956004" sldId="2147483675"/>
            <pc:sldLayoutMk cId="3714411165" sldId="2147483678"/>
          </pc:sldLayoutMkLst>
        </pc:sldLayoutChg>
        <pc:sldLayoutChg chg="del">
          <pc:chgData name="Bedel, Yanick Noah" userId="c0f86fc0-9b55-4d74-958a-ff514487524f" providerId="ADAL" clId="{4491A316-F633-41B6-8B89-4C8AC32E41EE}" dt="2025-05-22T15:20:14.458" v="2798" actId="47"/>
          <pc:sldLayoutMkLst>
            <pc:docMk/>
            <pc:sldMasterMk cId="1959956004" sldId="2147483675"/>
            <pc:sldLayoutMk cId="3568893518" sldId="2147483679"/>
          </pc:sldLayoutMkLst>
        </pc:sldLayoutChg>
        <pc:sldLayoutChg chg="del">
          <pc:chgData name="Bedel, Yanick Noah" userId="c0f86fc0-9b55-4d74-958a-ff514487524f" providerId="ADAL" clId="{4491A316-F633-41B6-8B89-4C8AC32E41EE}" dt="2025-05-22T15:20:14.458" v="2798" actId="47"/>
          <pc:sldLayoutMkLst>
            <pc:docMk/>
            <pc:sldMasterMk cId="1959956004" sldId="2147483675"/>
            <pc:sldLayoutMk cId="2066576087" sldId="2147483680"/>
          </pc:sldLayoutMkLst>
        </pc:sldLayoutChg>
        <pc:sldLayoutChg chg="del">
          <pc:chgData name="Bedel, Yanick Noah" userId="c0f86fc0-9b55-4d74-958a-ff514487524f" providerId="ADAL" clId="{4491A316-F633-41B6-8B89-4C8AC32E41EE}" dt="2025-05-22T15:20:14.458" v="2798" actId="47"/>
          <pc:sldLayoutMkLst>
            <pc:docMk/>
            <pc:sldMasterMk cId="1959956004" sldId="2147483675"/>
            <pc:sldLayoutMk cId="3125107340" sldId="2147483681"/>
          </pc:sldLayoutMkLst>
        </pc:sldLayoutChg>
        <pc:sldLayoutChg chg="del">
          <pc:chgData name="Bedel, Yanick Noah" userId="c0f86fc0-9b55-4d74-958a-ff514487524f" providerId="ADAL" clId="{4491A316-F633-41B6-8B89-4C8AC32E41EE}" dt="2025-05-22T15:20:14.458" v="2798" actId="47"/>
          <pc:sldLayoutMkLst>
            <pc:docMk/>
            <pc:sldMasterMk cId="1959956004" sldId="2147483675"/>
            <pc:sldLayoutMk cId="402116865" sldId="2147483682"/>
          </pc:sldLayoutMkLst>
        </pc:sldLayoutChg>
        <pc:sldLayoutChg chg="del">
          <pc:chgData name="Bedel, Yanick Noah" userId="c0f86fc0-9b55-4d74-958a-ff514487524f" providerId="ADAL" clId="{4491A316-F633-41B6-8B89-4C8AC32E41EE}" dt="2025-05-22T15:20:14.458" v="2798" actId="47"/>
          <pc:sldLayoutMkLst>
            <pc:docMk/>
            <pc:sldMasterMk cId="1959956004" sldId="2147483675"/>
            <pc:sldLayoutMk cId="2833449132" sldId="2147483683"/>
          </pc:sldLayoutMkLst>
        </pc:sldLayoutChg>
        <pc:sldLayoutChg chg="del">
          <pc:chgData name="Bedel, Yanick Noah" userId="c0f86fc0-9b55-4d74-958a-ff514487524f" providerId="ADAL" clId="{4491A316-F633-41B6-8B89-4C8AC32E41EE}" dt="2025-05-22T15:20:14.458" v="2798" actId="47"/>
          <pc:sldLayoutMkLst>
            <pc:docMk/>
            <pc:sldMasterMk cId="1959956004" sldId="2147483675"/>
            <pc:sldLayoutMk cId="3631108913" sldId="2147483684"/>
          </pc:sldLayoutMkLst>
        </pc:sldLayoutChg>
        <pc:sldLayoutChg chg="del">
          <pc:chgData name="Bedel, Yanick Noah" userId="c0f86fc0-9b55-4d74-958a-ff514487524f" providerId="ADAL" clId="{4491A316-F633-41B6-8B89-4C8AC32E41EE}" dt="2025-05-22T15:20:14.458" v="2798" actId="47"/>
          <pc:sldLayoutMkLst>
            <pc:docMk/>
            <pc:sldMasterMk cId="1959956004" sldId="2147483675"/>
            <pc:sldLayoutMk cId="2224835888" sldId="2147483685"/>
          </pc:sldLayoutMkLst>
        </pc:sldLayoutChg>
        <pc:sldLayoutChg chg="del">
          <pc:chgData name="Bedel, Yanick Noah" userId="c0f86fc0-9b55-4d74-958a-ff514487524f" providerId="ADAL" clId="{4491A316-F633-41B6-8B89-4C8AC32E41EE}" dt="2025-05-22T15:20:14.458" v="2798" actId="47"/>
          <pc:sldLayoutMkLst>
            <pc:docMk/>
            <pc:sldMasterMk cId="1959956004" sldId="2147483675"/>
            <pc:sldLayoutMk cId="3553420128" sldId="2147483686"/>
          </pc:sldLayoutMkLst>
        </pc:sldLayoutChg>
        <pc:sldLayoutChg chg="del">
          <pc:chgData name="Bedel, Yanick Noah" userId="c0f86fc0-9b55-4d74-958a-ff514487524f" providerId="ADAL" clId="{4491A316-F633-41B6-8B89-4C8AC32E41EE}" dt="2025-05-22T15:20:14.458" v="2798" actId="47"/>
          <pc:sldLayoutMkLst>
            <pc:docMk/>
            <pc:sldMasterMk cId="1959956004" sldId="2147483675"/>
            <pc:sldLayoutMk cId="2258714477" sldId="2147483687"/>
          </pc:sldLayoutMkLst>
        </pc:sldLayoutChg>
        <pc:sldLayoutChg chg="del">
          <pc:chgData name="Bedel, Yanick Noah" userId="c0f86fc0-9b55-4d74-958a-ff514487524f" providerId="ADAL" clId="{4491A316-F633-41B6-8B89-4C8AC32E41EE}" dt="2025-05-22T15:20:14.458" v="2798" actId="47"/>
          <pc:sldLayoutMkLst>
            <pc:docMk/>
            <pc:sldMasterMk cId="1959956004" sldId="2147483675"/>
            <pc:sldLayoutMk cId="546044926" sldId="2147483688"/>
          </pc:sldLayoutMkLst>
        </pc:sldLayoutChg>
        <pc:sldLayoutChg chg="del">
          <pc:chgData name="Bedel, Yanick Noah" userId="c0f86fc0-9b55-4d74-958a-ff514487524f" providerId="ADAL" clId="{4491A316-F633-41B6-8B89-4C8AC32E41EE}" dt="2025-05-22T15:20:14.458" v="2798" actId="47"/>
          <pc:sldLayoutMkLst>
            <pc:docMk/>
            <pc:sldMasterMk cId="1959956004" sldId="2147483675"/>
            <pc:sldLayoutMk cId="2762230387" sldId="2147483689"/>
          </pc:sldLayoutMkLst>
        </pc:sldLayoutChg>
        <pc:sldLayoutChg chg="del">
          <pc:chgData name="Bedel, Yanick Noah" userId="c0f86fc0-9b55-4d74-958a-ff514487524f" providerId="ADAL" clId="{4491A316-F633-41B6-8B89-4C8AC32E41EE}" dt="2025-05-22T15:20:14.458" v="2798" actId="47"/>
          <pc:sldLayoutMkLst>
            <pc:docMk/>
            <pc:sldMasterMk cId="1959956004" sldId="2147483675"/>
            <pc:sldLayoutMk cId="248618872" sldId="2147483690"/>
          </pc:sldLayoutMkLst>
        </pc:sldLayoutChg>
        <pc:sldLayoutChg chg="del">
          <pc:chgData name="Bedel, Yanick Noah" userId="c0f86fc0-9b55-4d74-958a-ff514487524f" providerId="ADAL" clId="{4491A316-F633-41B6-8B89-4C8AC32E41EE}" dt="2025-05-22T15:20:14.458" v="2798" actId="47"/>
          <pc:sldLayoutMkLst>
            <pc:docMk/>
            <pc:sldMasterMk cId="1959956004" sldId="2147483675"/>
            <pc:sldLayoutMk cId="153595873" sldId="2147483691"/>
          </pc:sldLayoutMkLst>
        </pc:sldLayoutChg>
        <pc:sldLayoutChg chg="del">
          <pc:chgData name="Bedel, Yanick Noah" userId="c0f86fc0-9b55-4d74-958a-ff514487524f" providerId="ADAL" clId="{4491A316-F633-41B6-8B89-4C8AC32E41EE}" dt="2025-05-22T15:20:14.458" v="2798" actId="47"/>
          <pc:sldLayoutMkLst>
            <pc:docMk/>
            <pc:sldMasterMk cId="1959956004" sldId="2147483675"/>
            <pc:sldLayoutMk cId="1966110030" sldId="2147483692"/>
          </pc:sldLayoutMkLst>
        </pc:sldLayoutChg>
        <pc:sldLayoutChg chg="del">
          <pc:chgData name="Bedel, Yanick Noah" userId="c0f86fc0-9b55-4d74-958a-ff514487524f" providerId="ADAL" clId="{4491A316-F633-41B6-8B89-4C8AC32E41EE}" dt="2025-05-22T15:20:14.458" v="2798" actId="47"/>
          <pc:sldLayoutMkLst>
            <pc:docMk/>
            <pc:sldMasterMk cId="1959956004" sldId="2147483675"/>
            <pc:sldLayoutMk cId="2484043682" sldId="2147483693"/>
          </pc:sldLayoutMkLst>
        </pc:sldLayoutChg>
        <pc:sldLayoutChg chg="del">
          <pc:chgData name="Bedel, Yanick Noah" userId="c0f86fc0-9b55-4d74-958a-ff514487524f" providerId="ADAL" clId="{4491A316-F633-41B6-8B89-4C8AC32E41EE}" dt="2025-05-22T15:20:14.458" v="2798" actId="47"/>
          <pc:sldLayoutMkLst>
            <pc:docMk/>
            <pc:sldMasterMk cId="1959956004" sldId="2147483675"/>
            <pc:sldLayoutMk cId="1332531635" sldId="2147483694"/>
          </pc:sldLayoutMkLst>
        </pc:sldLayoutChg>
        <pc:sldLayoutChg chg="del">
          <pc:chgData name="Bedel, Yanick Noah" userId="c0f86fc0-9b55-4d74-958a-ff514487524f" providerId="ADAL" clId="{4491A316-F633-41B6-8B89-4C8AC32E41EE}" dt="2025-05-22T15:20:14.458" v="2798" actId="47"/>
          <pc:sldLayoutMkLst>
            <pc:docMk/>
            <pc:sldMasterMk cId="1959956004" sldId="2147483675"/>
            <pc:sldLayoutMk cId="2505679479" sldId="2147483695"/>
          </pc:sldLayoutMkLst>
        </pc:sldLayoutChg>
        <pc:sldLayoutChg chg="del">
          <pc:chgData name="Bedel, Yanick Noah" userId="c0f86fc0-9b55-4d74-958a-ff514487524f" providerId="ADAL" clId="{4491A316-F633-41B6-8B89-4C8AC32E41EE}" dt="2025-05-22T15:20:14.458" v="2798" actId="47"/>
          <pc:sldLayoutMkLst>
            <pc:docMk/>
            <pc:sldMasterMk cId="1959956004" sldId="2147483675"/>
            <pc:sldLayoutMk cId="2222361384" sldId="2147483696"/>
          </pc:sldLayoutMkLst>
        </pc:sldLayoutChg>
        <pc:sldLayoutChg chg="del">
          <pc:chgData name="Bedel, Yanick Noah" userId="c0f86fc0-9b55-4d74-958a-ff514487524f" providerId="ADAL" clId="{4491A316-F633-41B6-8B89-4C8AC32E41EE}" dt="2025-05-22T15:20:14.458" v="2798" actId="47"/>
          <pc:sldLayoutMkLst>
            <pc:docMk/>
            <pc:sldMasterMk cId="1959956004" sldId="2147483675"/>
            <pc:sldLayoutMk cId="3162653155" sldId="2147483697"/>
          </pc:sldLayoutMkLst>
        </pc:sldLayoutChg>
        <pc:sldLayoutChg chg="del">
          <pc:chgData name="Bedel, Yanick Noah" userId="c0f86fc0-9b55-4d74-958a-ff514487524f" providerId="ADAL" clId="{4491A316-F633-41B6-8B89-4C8AC32E41EE}" dt="2025-05-22T15:20:14.458" v="2798" actId="47"/>
          <pc:sldLayoutMkLst>
            <pc:docMk/>
            <pc:sldMasterMk cId="1959956004" sldId="2147483675"/>
            <pc:sldLayoutMk cId="2759731992" sldId="2147483698"/>
          </pc:sldLayoutMkLst>
        </pc:sldLayoutChg>
        <pc:sldLayoutChg chg="del">
          <pc:chgData name="Bedel, Yanick Noah" userId="c0f86fc0-9b55-4d74-958a-ff514487524f" providerId="ADAL" clId="{4491A316-F633-41B6-8B89-4C8AC32E41EE}" dt="2025-05-22T15:20:14.458" v="2798" actId="47"/>
          <pc:sldLayoutMkLst>
            <pc:docMk/>
            <pc:sldMasterMk cId="1959956004" sldId="2147483675"/>
            <pc:sldLayoutMk cId="3594533522" sldId="2147483699"/>
          </pc:sldLayoutMkLst>
        </pc:sldLayoutChg>
        <pc:sldLayoutChg chg="del">
          <pc:chgData name="Bedel, Yanick Noah" userId="c0f86fc0-9b55-4d74-958a-ff514487524f" providerId="ADAL" clId="{4491A316-F633-41B6-8B89-4C8AC32E41EE}" dt="2025-05-22T15:20:14.458" v="2798" actId="47"/>
          <pc:sldLayoutMkLst>
            <pc:docMk/>
            <pc:sldMasterMk cId="1959956004" sldId="2147483675"/>
            <pc:sldLayoutMk cId="2641263739" sldId="2147483700"/>
          </pc:sldLayoutMkLst>
        </pc:sldLayoutChg>
        <pc:sldLayoutChg chg="del">
          <pc:chgData name="Bedel, Yanick Noah" userId="c0f86fc0-9b55-4d74-958a-ff514487524f" providerId="ADAL" clId="{4491A316-F633-41B6-8B89-4C8AC32E41EE}" dt="2025-05-22T15:20:14.458" v="2798" actId="47"/>
          <pc:sldLayoutMkLst>
            <pc:docMk/>
            <pc:sldMasterMk cId="1959956004" sldId="2147483675"/>
            <pc:sldLayoutMk cId="1611343879" sldId="2147483701"/>
          </pc:sldLayoutMkLst>
        </pc:sldLayoutChg>
        <pc:sldLayoutChg chg="del">
          <pc:chgData name="Bedel, Yanick Noah" userId="c0f86fc0-9b55-4d74-958a-ff514487524f" providerId="ADAL" clId="{4491A316-F633-41B6-8B89-4C8AC32E41EE}" dt="2025-05-22T15:20:14.458" v="2798" actId="47"/>
          <pc:sldLayoutMkLst>
            <pc:docMk/>
            <pc:sldMasterMk cId="1959956004" sldId="2147483675"/>
            <pc:sldLayoutMk cId="2377831388" sldId="2147483702"/>
          </pc:sldLayoutMkLst>
        </pc:sldLayoutChg>
        <pc:sldLayoutChg chg="del">
          <pc:chgData name="Bedel, Yanick Noah" userId="c0f86fc0-9b55-4d74-958a-ff514487524f" providerId="ADAL" clId="{4491A316-F633-41B6-8B89-4C8AC32E41EE}" dt="2025-05-22T15:20:14.458" v="2798" actId="47"/>
          <pc:sldLayoutMkLst>
            <pc:docMk/>
            <pc:sldMasterMk cId="1959956004" sldId="2147483675"/>
            <pc:sldLayoutMk cId="3117056543" sldId="2147483703"/>
          </pc:sldLayoutMkLst>
        </pc:sldLayoutChg>
      </pc:sldMasterChg>
      <pc:sldMasterChg chg="del delSldLayout">
        <pc:chgData name="Bedel, Yanick Noah" userId="c0f86fc0-9b55-4d74-958a-ff514487524f" providerId="ADAL" clId="{4491A316-F633-41B6-8B89-4C8AC32E41EE}" dt="2025-05-22T14:17:38.852" v="1388" actId="47"/>
        <pc:sldMasterMkLst>
          <pc:docMk/>
          <pc:sldMasterMk cId="3138639810" sldId="2147483675"/>
        </pc:sldMasterMkLst>
        <pc:sldLayoutChg chg="del">
          <pc:chgData name="Bedel, Yanick Noah" userId="c0f86fc0-9b55-4d74-958a-ff514487524f" providerId="ADAL" clId="{4491A316-F633-41B6-8B89-4C8AC32E41EE}" dt="2025-05-22T14:17:38.852" v="1388" actId="47"/>
          <pc:sldLayoutMkLst>
            <pc:docMk/>
            <pc:sldMasterMk cId="3138639810" sldId="2147483675"/>
            <pc:sldLayoutMk cId="1466332523" sldId="2147483676"/>
          </pc:sldLayoutMkLst>
        </pc:sldLayoutChg>
        <pc:sldLayoutChg chg="del">
          <pc:chgData name="Bedel, Yanick Noah" userId="c0f86fc0-9b55-4d74-958a-ff514487524f" providerId="ADAL" clId="{4491A316-F633-41B6-8B89-4C8AC32E41EE}" dt="2025-05-22T14:17:38.852" v="1388" actId="47"/>
          <pc:sldLayoutMkLst>
            <pc:docMk/>
            <pc:sldMasterMk cId="3138639810" sldId="2147483675"/>
            <pc:sldLayoutMk cId="4126671994" sldId="2147483677"/>
          </pc:sldLayoutMkLst>
        </pc:sldLayoutChg>
        <pc:sldLayoutChg chg="del">
          <pc:chgData name="Bedel, Yanick Noah" userId="c0f86fc0-9b55-4d74-958a-ff514487524f" providerId="ADAL" clId="{4491A316-F633-41B6-8B89-4C8AC32E41EE}" dt="2025-05-22T14:17:38.852" v="1388" actId="47"/>
          <pc:sldLayoutMkLst>
            <pc:docMk/>
            <pc:sldMasterMk cId="3138639810" sldId="2147483675"/>
            <pc:sldLayoutMk cId="3449373678" sldId="2147483678"/>
          </pc:sldLayoutMkLst>
        </pc:sldLayoutChg>
        <pc:sldLayoutChg chg="del">
          <pc:chgData name="Bedel, Yanick Noah" userId="c0f86fc0-9b55-4d74-958a-ff514487524f" providerId="ADAL" clId="{4491A316-F633-41B6-8B89-4C8AC32E41EE}" dt="2025-05-22T14:17:38.852" v="1388" actId="47"/>
          <pc:sldLayoutMkLst>
            <pc:docMk/>
            <pc:sldMasterMk cId="3138639810" sldId="2147483675"/>
            <pc:sldLayoutMk cId="3671805965" sldId="2147483679"/>
          </pc:sldLayoutMkLst>
        </pc:sldLayoutChg>
        <pc:sldLayoutChg chg="del">
          <pc:chgData name="Bedel, Yanick Noah" userId="c0f86fc0-9b55-4d74-958a-ff514487524f" providerId="ADAL" clId="{4491A316-F633-41B6-8B89-4C8AC32E41EE}" dt="2025-05-22T14:17:38.852" v="1388" actId="47"/>
          <pc:sldLayoutMkLst>
            <pc:docMk/>
            <pc:sldMasterMk cId="3138639810" sldId="2147483675"/>
            <pc:sldLayoutMk cId="1142237784" sldId="2147483680"/>
          </pc:sldLayoutMkLst>
        </pc:sldLayoutChg>
        <pc:sldLayoutChg chg="del">
          <pc:chgData name="Bedel, Yanick Noah" userId="c0f86fc0-9b55-4d74-958a-ff514487524f" providerId="ADAL" clId="{4491A316-F633-41B6-8B89-4C8AC32E41EE}" dt="2025-05-22T14:17:38.852" v="1388" actId="47"/>
          <pc:sldLayoutMkLst>
            <pc:docMk/>
            <pc:sldMasterMk cId="3138639810" sldId="2147483675"/>
            <pc:sldLayoutMk cId="4262140180" sldId="2147483681"/>
          </pc:sldLayoutMkLst>
        </pc:sldLayoutChg>
        <pc:sldLayoutChg chg="del">
          <pc:chgData name="Bedel, Yanick Noah" userId="c0f86fc0-9b55-4d74-958a-ff514487524f" providerId="ADAL" clId="{4491A316-F633-41B6-8B89-4C8AC32E41EE}" dt="2025-05-22T14:17:38.852" v="1388" actId="47"/>
          <pc:sldLayoutMkLst>
            <pc:docMk/>
            <pc:sldMasterMk cId="3138639810" sldId="2147483675"/>
            <pc:sldLayoutMk cId="3019779281" sldId="2147483682"/>
          </pc:sldLayoutMkLst>
        </pc:sldLayoutChg>
        <pc:sldLayoutChg chg="del">
          <pc:chgData name="Bedel, Yanick Noah" userId="c0f86fc0-9b55-4d74-958a-ff514487524f" providerId="ADAL" clId="{4491A316-F633-41B6-8B89-4C8AC32E41EE}" dt="2025-05-22T14:17:38.852" v="1388" actId="47"/>
          <pc:sldLayoutMkLst>
            <pc:docMk/>
            <pc:sldMasterMk cId="3138639810" sldId="2147483675"/>
            <pc:sldLayoutMk cId="1242985393" sldId="2147483683"/>
          </pc:sldLayoutMkLst>
        </pc:sldLayoutChg>
        <pc:sldLayoutChg chg="del">
          <pc:chgData name="Bedel, Yanick Noah" userId="c0f86fc0-9b55-4d74-958a-ff514487524f" providerId="ADAL" clId="{4491A316-F633-41B6-8B89-4C8AC32E41EE}" dt="2025-05-22T14:17:38.852" v="1388" actId="47"/>
          <pc:sldLayoutMkLst>
            <pc:docMk/>
            <pc:sldMasterMk cId="3138639810" sldId="2147483675"/>
            <pc:sldLayoutMk cId="2181196493" sldId="2147483684"/>
          </pc:sldLayoutMkLst>
        </pc:sldLayoutChg>
        <pc:sldLayoutChg chg="del">
          <pc:chgData name="Bedel, Yanick Noah" userId="c0f86fc0-9b55-4d74-958a-ff514487524f" providerId="ADAL" clId="{4491A316-F633-41B6-8B89-4C8AC32E41EE}" dt="2025-05-22T14:17:38.852" v="1388" actId="47"/>
          <pc:sldLayoutMkLst>
            <pc:docMk/>
            <pc:sldMasterMk cId="3138639810" sldId="2147483675"/>
            <pc:sldLayoutMk cId="2459318279" sldId="2147483685"/>
          </pc:sldLayoutMkLst>
        </pc:sldLayoutChg>
        <pc:sldLayoutChg chg="del">
          <pc:chgData name="Bedel, Yanick Noah" userId="c0f86fc0-9b55-4d74-958a-ff514487524f" providerId="ADAL" clId="{4491A316-F633-41B6-8B89-4C8AC32E41EE}" dt="2025-05-22T14:17:38.852" v="1388" actId="47"/>
          <pc:sldLayoutMkLst>
            <pc:docMk/>
            <pc:sldMasterMk cId="3138639810" sldId="2147483675"/>
            <pc:sldLayoutMk cId="4208950275" sldId="2147483686"/>
          </pc:sldLayoutMkLst>
        </pc:sldLayoutChg>
      </pc:sldMasterChg>
      <pc:sldMasterChg chg="del delSldLayout">
        <pc:chgData name="Bedel, Yanick Noah" userId="c0f86fc0-9b55-4d74-958a-ff514487524f" providerId="ADAL" clId="{4491A316-F633-41B6-8B89-4C8AC32E41EE}" dt="2025-05-23T07:47:55.221" v="7280" actId="47"/>
        <pc:sldMasterMkLst>
          <pc:docMk/>
          <pc:sldMasterMk cId="3894312031" sldId="2147483675"/>
        </pc:sldMasterMkLst>
        <pc:sldLayoutChg chg="del">
          <pc:chgData name="Bedel, Yanick Noah" userId="c0f86fc0-9b55-4d74-958a-ff514487524f" providerId="ADAL" clId="{4491A316-F633-41B6-8B89-4C8AC32E41EE}" dt="2025-05-23T07:47:55.221" v="7280" actId="47"/>
          <pc:sldLayoutMkLst>
            <pc:docMk/>
            <pc:sldMasterMk cId="3894312031" sldId="2147483675"/>
            <pc:sldLayoutMk cId="2379894564" sldId="2147483676"/>
          </pc:sldLayoutMkLst>
        </pc:sldLayoutChg>
        <pc:sldLayoutChg chg="del">
          <pc:chgData name="Bedel, Yanick Noah" userId="c0f86fc0-9b55-4d74-958a-ff514487524f" providerId="ADAL" clId="{4491A316-F633-41B6-8B89-4C8AC32E41EE}" dt="2025-05-23T07:47:55.221" v="7280" actId="47"/>
          <pc:sldLayoutMkLst>
            <pc:docMk/>
            <pc:sldMasterMk cId="3894312031" sldId="2147483675"/>
            <pc:sldLayoutMk cId="717481827" sldId="2147483677"/>
          </pc:sldLayoutMkLst>
        </pc:sldLayoutChg>
        <pc:sldLayoutChg chg="del">
          <pc:chgData name="Bedel, Yanick Noah" userId="c0f86fc0-9b55-4d74-958a-ff514487524f" providerId="ADAL" clId="{4491A316-F633-41B6-8B89-4C8AC32E41EE}" dt="2025-05-23T07:47:55.221" v="7280" actId="47"/>
          <pc:sldLayoutMkLst>
            <pc:docMk/>
            <pc:sldMasterMk cId="3894312031" sldId="2147483675"/>
            <pc:sldLayoutMk cId="3824200605" sldId="2147483678"/>
          </pc:sldLayoutMkLst>
        </pc:sldLayoutChg>
        <pc:sldLayoutChg chg="del">
          <pc:chgData name="Bedel, Yanick Noah" userId="c0f86fc0-9b55-4d74-958a-ff514487524f" providerId="ADAL" clId="{4491A316-F633-41B6-8B89-4C8AC32E41EE}" dt="2025-05-23T07:47:55.221" v="7280" actId="47"/>
          <pc:sldLayoutMkLst>
            <pc:docMk/>
            <pc:sldMasterMk cId="3894312031" sldId="2147483675"/>
            <pc:sldLayoutMk cId="3837502766" sldId="2147483679"/>
          </pc:sldLayoutMkLst>
        </pc:sldLayoutChg>
        <pc:sldLayoutChg chg="del">
          <pc:chgData name="Bedel, Yanick Noah" userId="c0f86fc0-9b55-4d74-958a-ff514487524f" providerId="ADAL" clId="{4491A316-F633-41B6-8B89-4C8AC32E41EE}" dt="2025-05-23T07:47:55.221" v="7280" actId="47"/>
          <pc:sldLayoutMkLst>
            <pc:docMk/>
            <pc:sldMasterMk cId="3894312031" sldId="2147483675"/>
            <pc:sldLayoutMk cId="2813352034" sldId="2147483680"/>
          </pc:sldLayoutMkLst>
        </pc:sldLayoutChg>
        <pc:sldLayoutChg chg="del">
          <pc:chgData name="Bedel, Yanick Noah" userId="c0f86fc0-9b55-4d74-958a-ff514487524f" providerId="ADAL" clId="{4491A316-F633-41B6-8B89-4C8AC32E41EE}" dt="2025-05-23T07:47:55.221" v="7280" actId="47"/>
          <pc:sldLayoutMkLst>
            <pc:docMk/>
            <pc:sldMasterMk cId="3894312031" sldId="2147483675"/>
            <pc:sldLayoutMk cId="3445584934" sldId="2147483681"/>
          </pc:sldLayoutMkLst>
        </pc:sldLayoutChg>
        <pc:sldLayoutChg chg="del">
          <pc:chgData name="Bedel, Yanick Noah" userId="c0f86fc0-9b55-4d74-958a-ff514487524f" providerId="ADAL" clId="{4491A316-F633-41B6-8B89-4C8AC32E41EE}" dt="2025-05-23T07:47:55.221" v="7280" actId="47"/>
          <pc:sldLayoutMkLst>
            <pc:docMk/>
            <pc:sldMasterMk cId="3894312031" sldId="2147483675"/>
            <pc:sldLayoutMk cId="1271491328" sldId="2147483682"/>
          </pc:sldLayoutMkLst>
        </pc:sldLayoutChg>
        <pc:sldLayoutChg chg="del">
          <pc:chgData name="Bedel, Yanick Noah" userId="c0f86fc0-9b55-4d74-958a-ff514487524f" providerId="ADAL" clId="{4491A316-F633-41B6-8B89-4C8AC32E41EE}" dt="2025-05-23T07:47:55.221" v="7280" actId="47"/>
          <pc:sldLayoutMkLst>
            <pc:docMk/>
            <pc:sldMasterMk cId="3894312031" sldId="2147483675"/>
            <pc:sldLayoutMk cId="1862566347" sldId="2147483683"/>
          </pc:sldLayoutMkLst>
        </pc:sldLayoutChg>
        <pc:sldLayoutChg chg="del">
          <pc:chgData name="Bedel, Yanick Noah" userId="c0f86fc0-9b55-4d74-958a-ff514487524f" providerId="ADAL" clId="{4491A316-F633-41B6-8B89-4C8AC32E41EE}" dt="2025-05-23T07:47:55.221" v="7280" actId="47"/>
          <pc:sldLayoutMkLst>
            <pc:docMk/>
            <pc:sldMasterMk cId="3894312031" sldId="2147483675"/>
            <pc:sldLayoutMk cId="3876755148" sldId="2147483684"/>
          </pc:sldLayoutMkLst>
        </pc:sldLayoutChg>
        <pc:sldLayoutChg chg="del">
          <pc:chgData name="Bedel, Yanick Noah" userId="c0f86fc0-9b55-4d74-958a-ff514487524f" providerId="ADAL" clId="{4491A316-F633-41B6-8B89-4C8AC32E41EE}" dt="2025-05-23T07:47:55.221" v="7280" actId="47"/>
          <pc:sldLayoutMkLst>
            <pc:docMk/>
            <pc:sldMasterMk cId="3894312031" sldId="2147483675"/>
            <pc:sldLayoutMk cId="2843770613" sldId="2147483685"/>
          </pc:sldLayoutMkLst>
        </pc:sldLayoutChg>
        <pc:sldLayoutChg chg="del">
          <pc:chgData name="Bedel, Yanick Noah" userId="c0f86fc0-9b55-4d74-958a-ff514487524f" providerId="ADAL" clId="{4491A316-F633-41B6-8B89-4C8AC32E41EE}" dt="2025-05-23T07:47:55.221" v="7280" actId="47"/>
          <pc:sldLayoutMkLst>
            <pc:docMk/>
            <pc:sldMasterMk cId="3894312031" sldId="2147483675"/>
            <pc:sldLayoutMk cId="19627528" sldId="2147483686"/>
          </pc:sldLayoutMkLst>
        </pc:sldLayoutChg>
        <pc:sldLayoutChg chg="del">
          <pc:chgData name="Bedel, Yanick Noah" userId="c0f86fc0-9b55-4d74-958a-ff514487524f" providerId="ADAL" clId="{4491A316-F633-41B6-8B89-4C8AC32E41EE}" dt="2025-05-23T07:47:55.221" v="7280" actId="47"/>
          <pc:sldLayoutMkLst>
            <pc:docMk/>
            <pc:sldMasterMk cId="3894312031" sldId="2147483675"/>
            <pc:sldLayoutMk cId="11409373" sldId="2147483687"/>
          </pc:sldLayoutMkLst>
        </pc:sldLayoutChg>
        <pc:sldLayoutChg chg="del">
          <pc:chgData name="Bedel, Yanick Noah" userId="c0f86fc0-9b55-4d74-958a-ff514487524f" providerId="ADAL" clId="{4491A316-F633-41B6-8B89-4C8AC32E41EE}" dt="2025-05-23T07:47:55.221" v="7280" actId="47"/>
          <pc:sldLayoutMkLst>
            <pc:docMk/>
            <pc:sldMasterMk cId="3894312031" sldId="2147483675"/>
            <pc:sldLayoutMk cId="4273789357" sldId="2147483688"/>
          </pc:sldLayoutMkLst>
        </pc:sldLayoutChg>
        <pc:sldLayoutChg chg="del">
          <pc:chgData name="Bedel, Yanick Noah" userId="c0f86fc0-9b55-4d74-958a-ff514487524f" providerId="ADAL" clId="{4491A316-F633-41B6-8B89-4C8AC32E41EE}" dt="2025-05-23T07:47:55.221" v="7280" actId="47"/>
          <pc:sldLayoutMkLst>
            <pc:docMk/>
            <pc:sldMasterMk cId="3894312031" sldId="2147483675"/>
            <pc:sldLayoutMk cId="1785911516" sldId="2147483689"/>
          </pc:sldLayoutMkLst>
        </pc:sldLayoutChg>
        <pc:sldLayoutChg chg="del">
          <pc:chgData name="Bedel, Yanick Noah" userId="c0f86fc0-9b55-4d74-958a-ff514487524f" providerId="ADAL" clId="{4491A316-F633-41B6-8B89-4C8AC32E41EE}" dt="2025-05-23T07:47:55.221" v="7280" actId="47"/>
          <pc:sldLayoutMkLst>
            <pc:docMk/>
            <pc:sldMasterMk cId="3894312031" sldId="2147483675"/>
            <pc:sldLayoutMk cId="3755021059" sldId="2147483690"/>
          </pc:sldLayoutMkLst>
        </pc:sldLayoutChg>
        <pc:sldLayoutChg chg="del">
          <pc:chgData name="Bedel, Yanick Noah" userId="c0f86fc0-9b55-4d74-958a-ff514487524f" providerId="ADAL" clId="{4491A316-F633-41B6-8B89-4C8AC32E41EE}" dt="2025-05-23T07:47:55.221" v="7280" actId="47"/>
          <pc:sldLayoutMkLst>
            <pc:docMk/>
            <pc:sldMasterMk cId="3894312031" sldId="2147483675"/>
            <pc:sldLayoutMk cId="305425147" sldId="2147483691"/>
          </pc:sldLayoutMkLst>
        </pc:sldLayoutChg>
        <pc:sldLayoutChg chg="del">
          <pc:chgData name="Bedel, Yanick Noah" userId="c0f86fc0-9b55-4d74-958a-ff514487524f" providerId="ADAL" clId="{4491A316-F633-41B6-8B89-4C8AC32E41EE}" dt="2025-05-23T07:47:55.221" v="7280" actId="47"/>
          <pc:sldLayoutMkLst>
            <pc:docMk/>
            <pc:sldMasterMk cId="3894312031" sldId="2147483675"/>
            <pc:sldLayoutMk cId="2401141364" sldId="2147483692"/>
          </pc:sldLayoutMkLst>
        </pc:sldLayoutChg>
        <pc:sldLayoutChg chg="del">
          <pc:chgData name="Bedel, Yanick Noah" userId="c0f86fc0-9b55-4d74-958a-ff514487524f" providerId="ADAL" clId="{4491A316-F633-41B6-8B89-4C8AC32E41EE}" dt="2025-05-23T07:47:55.221" v="7280" actId="47"/>
          <pc:sldLayoutMkLst>
            <pc:docMk/>
            <pc:sldMasterMk cId="3894312031" sldId="2147483675"/>
            <pc:sldLayoutMk cId="2678583422" sldId="2147483693"/>
          </pc:sldLayoutMkLst>
        </pc:sldLayoutChg>
        <pc:sldLayoutChg chg="del">
          <pc:chgData name="Bedel, Yanick Noah" userId="c0f86fc0-9b55-4d74-958a-ff514487524f" providerId="ADAL" clId="{4491A316-F633-41B6-8B89-4C8AC32E41EE}" dt="2025-05-23T07:47:55.221" v="7280" actId="47"/>
          <pc:sldLayoutMkLst>
            <pc:docMk/>
            <pc:sldMasterMk cId="3894312031" sldId="2147483675"/>
            <pc:sldLayoutMk cId="2472511447" sldId="2147483694"/>
          </pc:sldLayoutMkLst>
        </pc:sldLayoutChg>
        <pc:sldLayoutChg chg="del">
          <pc:chgData name="Bedel, Yanick Noah" userId="c0f86fc0-9b55-4d74-958a-ff514487524f" providerId="ADAL" clId="{4491A316-F633-41B6-8B89-4C8AC32E41EE}" dt="2025-05-23T07:47:55.221" v="7280" actId="47"/>
          <pc:sldLayoutMkLst>
            <pc:docMk/>
            <pc:sldMasterMk cId="3894312031" sldId="2147483675"/>
            <pc:sldLayoutMk cId="1692503941" sldId="2147483695"/>
          </pc:sldLayoutMkLst>
        </pc:sldLayoutChg>
        <pc:sldLayoutChg chg="del">
          <pc:chgData name="Bedel, Yanick Noah" userId="c0f86fc0-9b55-4d74-958a-ff514487524f" providerId="ADAL" clId="{4491A316-F633-41B6-8B89-4C8AC32E41EE}" dt="2025-05-23T07:47:55.221" v="7280" actId="47"/>
          <pc:sldLayoutMkLst>
            <pc:docMk/>
            <pc:sldMasterMk cId="3894312031" sldId="2147483675"/>
            <pc:sldLayoutMk cId="2855815425" sldId="2147483696"/>
          </pc:sldLayoutMkLst>
        </pc:sldLayoutChg>
        <pc:sldLayoutChg chg="del">
          <pc:chgData name="Bedel, Yanick Noah" userId="c0f86fc0-9b55-4d74-958a-ff514487524f" providerId="ADAL" clId="{4491A316-F633-41B6-8B89-4C8AC32E41EE}" dt="2025-05-23T07:47:55.221" v="7280" actId="47"/>
          <pc:sldLayoutMkLst>
            <pc:docMk/>
            <pc:sldMasterMk cId="3894312031" sldId="2147483675"/>
            <pc:sldLayoutMk cId="1056381043" sldId="2147483697"/>
          </pc:sldLayoutMkLst>
        </pc:sldLayoutChg>
        <pc:sldLayoutChg chg="del">
          <pc:chgData name="Bedel, Yanick Noah" userId="c0f86fc0-9b55-4d74-958a-ff514487524f" providerId="ADAL" clId="{4491A316-F633-41B6-8B89-4C8AC32E41EE}" dt="2025-05-23T07:47:55.221" v="7280" actId="47"/>
          <pc:sldLayoutMkLst>
            <pc:docMk/>
            <pc:sldMasterMk cId="3894312031" sldId="2147483675"/>
            <pc:sldLayoutMk cId="2616412247" sldId="2147483698"/>
          </pc:sldLayoutMkLst>
        </pc:sldLayoutChg>
        <pc:sldLayoutChg chg="del">
          <pc:chgData name="Bedel, Yanick Noah" userId="c0f86fc0-9b55-4d74-958a-ff514487524f" providerId="ADAL" clId="{4491A316-F633-41B6-8B89-4C8AC32E41EE}" dt="2025-05-23T07:47:55.221" v="7280" actId="47"/>
          <pc:sldLayoutMkLst>
            <pc:docMk/>
            <pc:sldMasterMk cId="3894312031" sldId="2147483675"/>
            <pc:sldLayoutMk cId="1965745152" sldId="2147483699"/>
          </pc:sldLayoutMkLst>
        </pc:sldLayoutChg>
        <pc:sldLayoutChg chg="del">
          <pc:chgData name="Bedel, Yanick Noah" userId="c0f86fc0-9b55-4d74-958a-ff514487524f" providerId="ADAL" clId="{4491A316-F633-41B6-8B89-4C8AC32E41EE}" dt="2025-05-23T07:47:55.221" v="7280" actId="47"/>
          <pc:sldLayoutMkLst>
            <pc:docMk/>
            <pc:sldMasterMk cId="3894312031" sldId="2147483675"/>
            <pc:sldLayoutMk cId="2575804496" sldId="2147483700"/>
          </pc:sldLayoutMkLst>
        </pc:sldLayoutChg>
        <pc:sldLayoutChg chg="del">
          <pc:chgData name="Bedel, Yanick Noah" userId="c0f86fc0-9b55-4d74-958a-ff514487524f" providerId="ADAL" clId="{4491A316-F633-41B6-8B89-4C8AC32E41EE}" dt="2025-05-23T07:47:55.221" v="7280" actId="47"/>
          <pc:sldLayoutMkLst>
            <pc:docMk/>
            <pc:sldMasterMk cId="3894312031" sldId="2147483675"/>
            <pc:sldLayoutMk cId="1607467413" sldId="2147483701"/>
          </pc:sldLayoutMkLst>
        </pc:sldLayoutChg>
        <pc:sldLayoutChg chg="del">
          <pc:chgData name="Bedel, Yanick Noah" userId="c0f86fc0-9b55-4d74-958a-ff514487524f" providerId="ADAL" clId="{4491A316-F633-41B6-8B89-4C8AC32E41EE}" dt="2025-05-23T07:47:55.221" v="7280" actId="47"/>
          <pc:sldLayoutMkLst>
            <pc:docMk/>
            <pc:sldMasterMk cId="3894312031" sldId="2147483675"/>
            <pc:sldLayoutMk cId="323374532" sldId="2147483702"/>
          </pc:sldLayoutMkLst>
        </pc:sldLayoutChg>
        <pc:sldLayoutChg chg="del">
          <pc:chgData name="Bedel, Yanick Noah" userId="c0f86fc0-9b55-4d74-958a-ff514487524f" providerId="ADAL" clId="{4491A316-F633-41B6-8B89-4C8AC32E41EE}" dt="2025-05-23T07:47:55.221" v="7280" actId="47"/>
          <pc:sldLayoutMkLst>
            <pc:docMk/>
            <pc:sldMasterMk cId="3894312031" sldId="2147483675"/>
            <pc:sldLayoutMk cId="2254589976" sldId="2147483703"/>
          </pc:sldLayoutMkLst>
        </pc:sldLayoutChg>
      </pc:sldMasterChg>
    </pc:docChg>
  </pc:docChgLst>
  <pc:docChgLst>
    <pc:chgData name="Bedel, Yanick Noah" userId="c0f86fc0-9b55-4d74-958a-ff514487524f" providerId="ADAL" clId="{576EECC6-284B-436B-A2B6-692242E53738}"/>
    <pc:docChg chg="undo custSel addSld delSld modSld addMainMaster delMainMaster delSection modSection">
      <pc:chgData name="Bedel, Yanick Noah" userId="c0f86fc0-9b55-4d74-958a-ff514487524f" providerId="ADAL" clId="{576EECC6-284B-436B-A2B6-692242E53738}" dt="2025-06-18T00:40:16.495" v="457" actId="14100"/>
      <pc:docMkLst>
        <pc:docMk/>
      </pc:docMkLst>
      <pc:sldChg chg="addSp delSp modSp add del mod delAnim">
        <pc:chgData name="Bedel, Yanick Noah" userId="c0f86fc0-9b55-4d74-958a-ff514487524f" providerId="ADAL" clId="{576EECC6-284B-436B-A2B6-692242E53738}" dt="2025-06-18T00:38:02.491" v="46" actId="2696"/>
        <pc:sldMkLst>
          <pc:docMk/>
          <pc:sldMk cId="2704049841" sldId="835"/>
        </pc:sldMkLst>
        <pc:spChg chg="add mod">
          <ac:chgData name="Bedel, Yanick Noah" userId="c0f86fc0-9b55-4d74-958a-ff514487524f" providerId="ADAL" clId="{576EECC6-284B-436B-A2B6-692242E53738}" dt="2025-06-18T00:37:57.849" v="44" actId="20577"/>
          <ac:spMkLst>
            <pc:docMk/>
            <pc:sldMk cId="2704049841" sldId="835"/>
            <ac:spMk id="3" creationId="{76065A14-B77E-AF61-697B-94CB556AB348}"/>
          </ac:spMkLst>
        </pc:spChg>
        <pc:spChg chg="del mod">
          <ac:chgData name="Bedel, Yanick Noah" userId="c0f86fc0-9b55-4d74-958a-ff514487524f" providerId="ADAL" clId="{576EECC6-284B-436B-A2B6-692242E53738}" dt="2025-06-18T00:36:55.070" v="4" actId="478"/>
          <ac:spMkLst>
            <pc:docMk/>
            <pc:sldMk cId="2704049841" sldId="835"/>
            <ac:spMk id="23" creationId="{E568C004-B4D3-DBC3-2410-756147223A81}"/>
          </ac:spMkLst>
        </pc:spChg>
        <pc:spChg chg="del">
          <ac:chgData name="Bedel, Yanick Noah" userId="c0f86fc0-9b55-4d74-958a-ff514487524f" providerId="ADAL" clId="{576EECC6-284B-436B-A2B6-692242E53738}" dt="2025-06-18T00:36:59.115" v="6" actId="478"/>
          <ac:spMkLst>
            <pc:docMk/>
            <pc:sldMk cId="2704049841" sldId="835"/>
            <ac:spMk id="24" creationId="{F4916BD3-3D94-5942-4A01-81398A330AC5}"/>
          </ac:spMkLst>
        </pc:spChg>
        <pc:spChg chg="del">
          <ac:chgData name="Bedel, Yanick Noah" userId="c0f86fc0-9b55-4d74-958a-ff514487524f" providerId="ADAL" clId="{576EECC6-284B-436B-A2B6-692242E53738}" dt="2025-06-18T00:37:00.471" v="7" actId="478"/>
          <ac:spMkLst>
            <pc:docMk/>
            <pc:sldMk cId="2704049841" sldId="835"/>
            <ac:spMk id="25" creationId="{4D786572-4AA3-EF3D-6DE4-D8457B9630C0}"/>
          </ac:spMkLst>
        </pc:spChg>
        <pc:spChg chg="del">
          <ac:chgData name="Bedel, Yanick Noah" userId="c0f86fc0-9b55-4d74-958a-ff514487524f" providerId="ADAL" clId="{576EECC6-284B-436B-A2B6-692242E53738}" dt="2025-06-18T00:36:57.382" v="5" actId="478"/>
          <ac:spMkLst>
            <pc:docMk/>
            <pc:sldMk cId="2704049841" sldId="835"/>
            <ac:spMk id="26" creationId="{08469794-EED8-5CAE-BBB0-C1614FF7BA83}"/>
          </ac:spMkLst>
        </pc:spChg>
        <pc:grpChg chg="del">
          <ac:chgData name="Bedel, Yanick Noah" userId="c0f86fc0-9b55-4d74-958a-ff514487524f" providerId="ADAL" clId="{576EECC6-284B-436B-A2B6-692242E53738}" dt="2025-06-18T00:36:52.925" v="2" actId="478"/>
          <ac:grpSpMkLst>
            <pc:docMk/>
            <pc:sldMk cId="2704049841" sldId="835"/>
            <ac:grpSpMk id="7" creationId="{CCDD1A24-FF7B-72A0-0E25-EDB2DD973572}"/>
          </ac:grpSpMkLst>
        </pc:grpChg>
      </pc:sldChg>
      <pc:sldChg chg="del">
        <pc:chgData name="Bedel, Yanick Noah" userId="c0f86fc0-9b55-4d74-958a-ff514487524f" providerId="ADAL" clId="{576EECC6-284B-436B-A2B6-692242E53738}" dt="2025-06-18T00:37:07.036" v="9" actId="47"/>
        <pc:sldMkLst>
          <pc:docMk/>
          <pc:sldMk cId="2692542087" sldId="842"/>
        </pc:sldMkLst>
      </pc:sldChg>
      <pc:sldChg chg="del">
        <pc:chgData name="Bedel, Yanick Noah" userId="c0f86fc0-9b55-4d74-958a-ff514487524f" providerId="ADAL" clId="{576EECC6-284B-436B-A2B6-692242E53738}" dt="2025-06-18T00:37:11.331" v="13" actId="47"/>
        <pc:sldMkLst>
          <pc:docMk/>
          <pc:sldMk cId="1104288681" sldId="845"/>
        </pc:sldMkLst>
      </pc:sldChg>
      <pc:sldChg chg="del">
        <pc:chgData name="Bedel, Yanick Noah" userId="c0f86fc0-9b55-4d74-958a-ff514487524f" providerId="ADAL" clId="{576EECC6-284B-436B-A2B6-692242E53738}" dt="2025-06-18T00:37:12.230" v="14" actId="47"/>
        <pc:sldMkLst>
          <pc:docMk/>
          <pc:sldMk cId="933151716" sldId="846"/>
        </pc:sldMkLst>
      </pc:sldChg>
      <pc:sldChg chg="del">
        <pc:chgData name="Bedel, Yanick Noah" userId="c0f86fc0-9b55-4d74-958a-ff514487524f" providerId="ADAL" clId="{576EECC6-284B-436B-A2B6-692242E53738}" dt="2025-06-18T00:37:15.449" v="15" actId="47"/>
        <pc:sldMkLst>
          <pc:docMk/>
          <pc:sldMk cId="3468982406" sldId="847"/>
        </pc:sldMkLst>
      </pc:sldChg>
      <pc:sldChg chg="del">
        <pc:chgData name="Bedel, Yanick Noah" userId="c0f86fc0-9b55-4d74-958a-ff514487524f" providerId="ADAL" clId="{576EECC6-284B-436B-A2B6-692242E53738}" dt="2025-06-18T00:37:09.934" v="12" actId="47"/>
        <pc:sldMkLst>
          <pc:docMk/>
          <pc:sldMk cId="4270613589" sldId="849"/>
        </pc:sldMkLst>
      </pc:sldChg>
      <pc:sldChg chg="del">
        <pc:chgData name="Bedel, Yanick Noah" userId="c0f86fc0-9b55-4d74-958a-ff514487524f" providerId="ADAL" clId="{576EECC6-284B-436B-A2B6-692242E53738}" dt="2025-06-18T00:37:07.969" v="10" actId="47"/>
        <pc:sldMkLst>
          <pc:docMk/>
          <pc:sldMk cId="3433168944" sldId="850"/>
        </pc:sldMkLst>
      </pc:sldChg>
      <pc:sldChg chg="del">
        <pc:chgData name="Bedel, Yanick Noah" userId="c0f86fc0-9b55-4d74-958a-ff514487524f" providerId="ADAL" clId="{576EECC6-284B-436B-A2B6-692242E53738}" dt="2025-06-18T00:37:06.107" v="8" actId="47"/>
        <pc:sldMkLst>
          <pc:docMk/>
          <pc:sldMk cId="590187059" sldId="851"/>
        </pc:sldMkLst>
      </pc:sldChg>
      <pc:sldChg chg="del">
        <pc:chgData name="Bedel, Yanick Noah" userId="c0f86fc0-9b55-4d74-958a-ff514487524f" providerId="ADAL" clId="{576EECC6-284B-436B-A2B6-692242E53738}" dt="2025-06-18T00:37:08.887" v="11" actId="47"/>
        <pc:sldMkLst>
          <pc:docMk/>
          <pc:sldMk cId="1242751092" sldId="852"/>
        </pc:sldMkLst>
      </pc:sldChg>
      <pc:sldChg chg="new del">
        <pc:chgData name="Bedel, Yanick Noah" userId="c0f86fc0-9b55-4d74-958a-ff514487524f" providerId="ADAL" clId="{576EECC6-284B-436B-A2B6-692242E53738}" dt="2025-06-18T00:36:50.209" v="1" actId="47"/>
        <pc:sldMkLst>
          <pc:docMk/>
          <pc:sldMk cId="3012385129" sldId="855"/>
        </pc:sldMkLst>
      </pc:sldChg>
      <pc:sldChg chg="modSp add mod">
        <pc:chgData name="Bedel, Yanick Noah" userId="c0f86fc0-9b55-4d74-958a-ff514487524f" providerId="ADAL" clId="{576EECC6-284B-436B-A2B6-692242E53738}" dt="2025-06-18T00:38:31.618" v="137" actId="1076"/>
        <pc:sldMkLst>
          <pc:docMk/>
          <pc:sldMk cId="3423417792" sldId="855"/>
        </pc:sldMkLst>
        <pc:spChg chg="mod">
          <ac:chgData name="Bedel, Yanick Noah" userId="c0f86fc0-9b55-4d74-958a-ff514487524f" providerId="ADAL" clId="{576EECC6-284B-436B-A2B6-692242E53738}" dt="2025-06-18T00:38:31.618" v="137" actId="1076"/>
          <ac:spMkLst>
            <pc:docMk/>
            <pc:sldMk cId="3423417792" sldId="855"/>
            <ac:spMk id="3" creationId="{0C7162B2-3027-6753-20AB-358EB2884409}"/>
          </ac:spMkLst>
        </pc:spChg>
      </pc:sldChg>
      <pc:sldChg chg="modSp add mod">
        <pc:chgData name="Bedel, Yanick Noah" userId="c0f86fc0-9b55-4d74-958a-ff514487524f" providerId="ADAL" clId="{576EECC6-284B-436B-A2B6-692242E53738}" dt="2025-06-18T00:38:58.035" v="222" actId="20577"/>
        <pc:sldMkLst>
          <pc:docMk/>
          <pc:sldMk cId="46183394" sldId="856"/>
        </pc:sldMkLst>
        <pc:spChg chg="mod">
          <ac:chgData name="Bedel, Yanick Noah" userId="c0f86fc0-9b55-4d74-958a-ff514487524f" providerId="ADAL" clId="{576EECC6-284B-436B-A2B6-692242E53738}" dt="2025-06-18T00:38:58.035" v="222" actId="20577"/>
          <ac:spMkLst>
            <pc:docMk/>
            <pc:sldMk cId="46183394" sldId="856"/>
            <ac:spMk id="3" creationId="{C11F9E01-33A8-0A97-CC9B-A759F0E6250D}"/>
          </ac:spMkLst>
        </pc:spChg>
      </pc:sldChg>
      <pc:sldChg chg="modSp add mod">
        <pc:chgData name="Bedel, Yanick Noah" userId="c0f86fc0-9b55-4d74-958a-ff514487524f" providerId="ADAL" clId="{576EECC6-284B-436B-A2B6-692242E53738}" dt="2025-06-18T00:39:26.449" v="302" actId="20577"/>
        <pc:sldMkLst>
          <pc:docMk/>
          <pc:sldMk cId="2405560728" sldId="857"/>
        </pc:sldMkLst>
        <pc:spChg chg="mod">
          <ac:chgData name="Bedel, Yanick Noah" userId="c0f86fc0-9b55-4d74-958a-ff514487524f" providerId="ADAL" clId="{576EECC6-284B-436B-A2B6-692242E53738}" dt="2025-06-18T00:39:26.449" v="302" actId="20577"/>
          <ac:spMkLst>
            <pc:docMk/>
            <pc:sldMk cId="2405560728" sldId="857"/>
            <ac:spMk id="3" creationId="{1565E2EB-8C39-341B-86D2-08A840F1D524}"/>
          </ac:spMkLst>
        </pc:spChg>
      </pc:sldChg>
      <pc:sldChg chg="modSp add mod">
        <pc:chgData name="Bedel, Yanick Noah" userId="c0f86fc0-9b55-4d74-958a-ff514487524f" providerId="ADAL" clId="{576EECC6-284B-436B-A2B6-692242E53738}" dt="2025-06-18T00:40:16.495" v="457" actId="14100"/>
        <pc:sldMkLst>
          <pc:docMk/>
          <pc:sldMk cId="3045581423" sldId="858"/>
        </pc:sldMkLst>
        <pc:spChg chg="mod">
          <ac:chgData name="Bedel, Yanick Noah" userId="c0f86fc0-9b55-4d74-958a-ff514487524f" providerId="ADAL" clId="{576EECC6-284B-436B-A2B6-692242E53738}" dt="2025-06-18T00:40:16.495" v="457" actId="14100"/>
          <ac:spMkLst>
            <pc:docMk/>
            <pc:sldMk cId="3045581423" sldId="858"/>
            <ac:spMk id="3" creationId="{45F3A613-1A76-C472-6E5B-E92EA80E18BE}"/>
          </ac:spMkLst>
        </pc:spChg>
      </pc:sldChg>
      <pc:sldMasterChg chg="add del addSldLayout delSldLayout">
        <pc:chgData name="Bedel, Yanick Noah" userId="c0f86fc0-9b55-4d74-958a-ff514487524f" providerId="ADAL" clId="{576EECC6-284B-436B-A2B6-692242E53738}" dt="2025-06-18T00:38:02.491" v="46" actId="2696"/>
        <pc:sldMasterMkLst>
          <pc:docMk/>
          <pc:sldMasterMk cId="2684128550" sldId="2147483648"/>
        </pc:sldMasterMkLst>
        <pc:sldLayoutChg chg="add del">
          <pc:chgData name="Bedel, Yanick Noah" userId="c0f86fc0-9b55-4d74-958a-ff514487524f" providerId="ADAL" clId="{576EECC6-284B-436B-A2B6-692242E53738}" dt="2025-06-18T00:38:02.491" v="46" actId="2696"/>
          <pc:sldLayoutMkLst>
            <pc:docMk/>
            <pc:sldMasterMk cId="2684128550" sldId="2147483648"/>
            <pc:sldLayoutMk cId="57104564" sldId="2147483649"/>
          </pc:sldLayoutMkLst>
        </pc:sldLayoutChg>
        <pc:sldLayoutChg chg="add del">
          <pc:chgData name="Bedel, Yanick Noah" userId="c0f86fc0-9b55-4d74-958a-ff514487524f" providerId="ADAL" clId="{576EECC6-284B-436B-A2B6-692242E53738}" dt="2025-06-18T00:38:02.491" v="46" actId="2696"/>
          <pc:sldLayoutMkLst>
            <pc:docMk/>
            <pc:sldMasterMk cId="2684128550" sldId="2147483648"/>
            <pc:sldLayoutMk cId="719778185" sldId="2147483650"/>
          </pc:sldLayoutMkLst>
        </pc:sldLayoutChg>
        <pc:sldLayoutChg chg="add del">
          <pc:chgData name="Bedel, Yanick Noah" userId="c0f86fc0-9b55-4d74-958a-ff514487524f" providerId="ADAL" clId="{576EECC6-284B-436B-A2B6-692242E53738}" dt="2025-06-18T00:38:02.491" v="46" actId="2696"/>
          <pc:sldLayoutMkLst>
            <pc:docMk/>
            <pc:sldMasterMk cId="2684128550" sldId="2147483648"/>
            <pc:sldLayoutMk cId="771738499" sldId="2147483651"/>
          </pc:sldLayoutMkLst>
        </pc:sldLayoutChg>
        <pc:sldLayoutChg chg="add del">
          <pc:chgData name="Bedel, Yanick Noah" userId="c0f86fc0-9b55-4d74-958a-ff514487524f" providerId="ADAL" clId="{576EECC6-284B-436B-A2B6-692242E53738}" dt="2025-06-18T00:38:02.491" v="46" actId="2696"/>
          <pc:sldLayoutMkLst>
            <pc:docMk/>
            <pc:sldMasterMk cId="2684128550" sldId="2147483648"/>
            <pc:sldLayoutMk cId="1862750524" sldId="2147483652"/>
          </pc:sldLayoutMkLst>
        </pc:sldLayoutChg>
        <pc:sldLayoutChg chg="add del">
          <pc:chgData name="Bedel, Yanick Noah" userId="c0f86fc0-9b55-4d74-958a-ff514487524f" providerId="ADAL" clId="{576EECC6-284B-436B-A2B6-692242E53738}" dt="2025-06-18T00:38:02.491" v="46" actId="2696"/>
          <pc:sldLayoutMkLst>
            <pc:docMk/>
            <pc:sldMasterMk cId="2684128550" sldId="2147483648"/>
            <pc:sldLayoutMk cId="2164353209" sldId="2147483653"/>
          </pc:sldLayoutMkLst>
        </pc:sldLayoutChg>
        <pc:sldLayoutChg chg="add del">
          <pc:chgData name="Bedel, Yanick Noah" userId="c0f86fc0-9b55-4d74-958a-ff514487524f" providerId="ADAL" clId="{576EECC6-284B-436B-A2B6-692242E53738}" dt="2025-06-18T00:38:02.491" v="46" actId="2696"/>
          <pc:sldLayoutMkLst>
            <pc:docMk/>
            <pc:sldMasterMk cId="2684128550" sldId="2147483648"/>
            <pc:sldLayoutMk cId="2343796729" sldId="2147483654"/>
          </pc:sldLayoutMkLst>
        </pc:sldLayoutChg>
        <pc:sldLayoutChg chg="add del">
          <pc:chgData name="Bedel, Yanick Noah" userId="c0f86fc0-9b55-4d74-958a-ff514487524f" providerId="ADAL" clId="{576EECC6-284B-436B-A2B6-692242E53738}" dt="2025-06-18T00:38:02.491" v="46" actId="2696"/>
          <pc:sldLayoutMkLst>
            <pc:docMk/>
            <pc:sldMasterMk cId="2684128550" sldId="2147483648"/>
            <pc:sldLayoutMk cId="2530830321" sldId="2147483655"/>
          </pc:sldLayoutMkLst>
        </pc:sldLayoutChg>
        <pc:sldLayoutChg chg="add del">
          <pc:chgData name="Bedel, Yanick Noah" userId="c0f86fc0-9b55-4d74-958a-ff514487524f" providerId="ADAL" clId="{576EECC6-284B-436B-A2B6-692242E53738}" dt="2025-06-18T00:38:02.491" v="46" actId="2696"/>
          <pc:sldLayoutMkLst>
            <pc:docMk/>
            <pc:sldMasterMk cId="2684128550" sldId="2147483648"/>
            <pc:sldLayoutMk cId="2137899177" sldId="2147483656"/>
          </pc:sldLayoutMkLst>
        </pc:sldLayoutChg>
        <pc:sldLayoutChg chg="add del">
          <pc:chgData name="Bedel, Yanick Noah" userId="c0f86fc0-9b55-4d74-958a-ff514487524f" providerId="ADAL" clId="{576EECC6-284B-436B-A2B6-692242E53738}" dt="2025-06-18T00:38:02.491" v="46" actId="2696"/>
          <pc:sldLayoutMkLst>
            <pc:docMk/>
            <pc:sldMasterMk cId="2684128550" sldId="2147483648"/>
            <pc:sldLayoutMk cId="3618675275" sldId="2147483657"/>
          </pc:sldLayoutMkLst>
        </pc:sldLayoutChg>
        <pc:sldLayoutChg chg="add del">
          <pc:chgData name="Bedel, Yanick Noah" userId="c0f86fc0-9b55-4d74-958a-ff514487524f" providerId="ADAL" clId="{576EECC6-284B-436B-A2B6-692242E53738}" dt="2025-06-18T00:38:02.491" v="46" actId="2696"/>
          <pc:sldLayoutMkLst>
            <pc:docMk/>
            <pc:sldMasterMk cId="2684128550" sldId="2147483648"/>
            <pc:sldLayoutMk cId="795255312" sldId="2147483658"/>
          </pc:sldLayoutMkLst>
        </pc:sldLayoutChg>
        <pc:sldLayoutChg chg="add del">
          <pc:chgData name="Bedel, Yanick Noah" userId="c0f86fc0-9b55-4d74-958a-ff514487524f" providerId="ADAL" clId="{576EECC6-284B-436B-A2B6-692242E53738}" dt="2025-06-18T00:38:02.491" v="46" actId="2696"/>
          <pc:sldLayoutMkLst>
            <pc:docMk/>
            <pc:sldMasterMk cId="2684128550" sldId="2147483648"/>
            <pc:sldLayoutMk cId="2935929786" sldId="2147483659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8A7F2A7-71BC-4516-8D6E-E8D945388D91}" type="datetimeFigureOut">
              <a:rPr lang="de-DE" smtClean="0"/>
              <a:t>23.06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BBAFB8D-EA19-4220-8FC9-9E869610379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458475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068B4E2-3B88-35B2-C800-DC1F9426E0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8BA9515-B0FF-3730-FA85-3818225F169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3F80C12-82BC-43F6-A42F-C1C23E33298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61FAC6-83F8-096F-919C-EB9997237A3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150026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BBAFB8D-EA19-4220-8FC9-9E8696103790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495814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75F5B7-64D5-4D74-D128-6C37369075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63F184F-9275-E8AC-26DE-14870423B9F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F1C5953-87C6-5C15-AE7C-92DF828F51E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5C99402-C9C2-0F44-C41A-2691C4CFD4D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682872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711C52-7FBE-CA5C-9D8A-9DC71D28A77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F44096C-6005-1D98-1C99-6DE18AC69B7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722B05A-7B11-2CD0-52F3-2A607AAAE4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Freitag, 23. Mai 2025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797246A-3DDC-72C2-1CF5-242C9D4E31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jektrealisierung | ResearchGrid EU (Gruppe 4) | ID: 004-RG-EU-2025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2E16D9F-62AA-3412-260E-73BEACD1DD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BE964E-F132-479F-94BD-F84A15E55C3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71045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8E4F58-2457-8765-C1E4-3352240536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FD52E72-8DAD-F53A-15AA-F74D9FFFF48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C39C530-BA88-CDAD-6921-EF37688CE2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Freitag, 23. Mai 2025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257FB8E-597E-32F0-B099-C7CCB7AF50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jektrealisierung | ResearchGrid EU (Gruppe 4) | ID: 004-RG-EU-2025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13915BC-4E6F-4A8B-A07F-BC2C09EEEB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BE964E-F132-479F-94BD-F84A15E55C3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9525531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B624FFF-BFB9-6AE1-4227-8494BB3089C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1BB09BC-BD16-75FE-57B7-67F3B663ECB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96FAE6-0507-F26A-30A0-786BD078A2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Freitag, 23. Mai 2025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9C642B1-A2E8-C5F2-4EC2-21D53172D1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jektrealisierung | ResearchGrid EU (Gruppe 4) | ID: 004-RG-EU-2025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01DE23B-47D6-3F4B-8758-898026EBF8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BE964E-F132-479F-94BD-F84A15E55C3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3592978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EEF4D6-34B1-4FAF-02D3-7A80BA988B4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FBF86FA-4AA8-5816-12DD-0ECFFEAE840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448EE4A-B4C7-5641-2ADB-69729328CC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Freitag, 23. Mai 2025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9A73E96-854E-40B8-E307-CEB2812B60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jektrealisierung | ResearchGrid EU (Gruppe 4) | ID: 004-RG-EU-2025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43FF5D-2D47-E7B7-4E37-8E433DDF2C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D3E82-76FF-4369-AC74-43983A859D2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2551429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215151-2F22-73F9-E39A-239CF6DF50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2BA4F43-6E22-E966-14C8-8C7D0C18F90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D93CB9E-A5FF-F654-E502-6D79F152A3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Freitag, 23. Mai 2025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DBD8696-63B3-7378-1011-09D67B4F4B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D3E82-76FF-4369-AC74-43983A859D2F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50FB2AB3-EBFA-924B-5F7C-67E1F847255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0">
                <a:solidFill>
                  <a:srgbClr val="898989"/>
                </a:solidFill>
              </a:defRPr>
            </a:lvl1pPr>
          </a:lstStyle>
          <a:p>
            <a:r>
              <a:rPr lang="de-DE"/>
              <a:t>Projektrealisierung | ResearchGrid EU (Gruppe 4) | ID: 004-RG-EU-2025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3716239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BEB1D0-0443-7D67-6E53-51ECBD8662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F60E7CC-1386-D205-976D-F99E658A2F3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1E23C4B-0720-A373-847B-B8E3EE6719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Freitag, 23. Mai 2025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4097BF-0ACB-A4E2-6FBC-C37C6E780E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jektrealisierung | ResearchGrid EU (Gruppe 4) | ID: 004-RG-EU-2025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A44656F-BA58-D270-633A-7969762B27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D3E82-76FF-4369-AC74-43983A859D2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0979336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2FD16D-E0FD-848B-067C-BC21B61CC0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8F5FFE0-0020-2167-AE0B-725E450A16C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9587718-7CC3-BC25-87E1-49E2FE5518B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DAA330D-F4FD-2052-CCCE-DF3E238937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Freitag, 23. Mai 2025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93DAA06-B366-CDFC-E2F0-06ACCE3C72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jektrealisierung | ResearchGrid EU (Gruppe 4) | ID: 004-RG-EU-2025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69F3369-E88E-26DA-C8D9-AAFA4A05A6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D3E82-76FF-4369-AC74-43983A859D2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139500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045B0A-4AA6-F387-FC9D-A260785584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50FABE4-5F74-8B9D-8A2A-E36CB403A53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5A6EA45-4CD0-F57C-FFF0-6A122F2F2F0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1E2A96C-278C-B993-35D3-4BEAF498458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CBDF9F7-9BD3-80D6-49FD-D76ECC1043B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5E70102-3D1C-9582-3F5E-01788A4111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Freitag, 23. Mai 2025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3B19F54-9BDD-7425-E534-C7500B3439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jektrealisierung | ResearchGrid EU (Gruppe 4) | ID: 004-RG-EU-2025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1D9945E-CE50-069A-CAD6-73312DDC7A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D3E82-76FF-4369-AC74-43983A859D2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4662960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E8410C-0A5F-8BA8-C117-AFE016ED46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B324F6-FB04-1325-123C-B234B9836C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Freitag, 23. Mai 2025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DB1C0C8-FB98-8CA0-868F-53FFB3A949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jektrealisierung | ResearchGrid EU (Gruppe 4) | ID: 004-RG-EU-2025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C1E732-FB99-D24C-5186-F536080912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D3E82-76FF-4369-AC74-43983A859D2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3558571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2505E5D-DCA2-9084-4D8D-79F4DA9A79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Freitag, 23. Mai 2025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300A554-0C40-23A1-8DE3-056D42AED8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jektrealisierung | ResearchGrid EU (Gruppe 4) | ID: 004-RG-EU-2025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D10EFAA-BA80-7FE5-866A-2C242B12D7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D3E82-76FF-4369-AC74-43983A859D2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8539711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B8644D-68BE-370B-FA70-4D83B4FD28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2FC3609-7AE4-C0EF-FC57-1A58952DDCB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2BFE4D1-9963-66AD-A569-4BA01C20C6F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6F61977-7150-0139-587E-02B6D60BC9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Freitag, 23. Mai 2025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2D6EF0E-D448-4D10-6FF7-B1BB80EAF4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jektrealisierung | ResearchGrid EU (Gruppe 4) | ID: 004-RG-EU-2025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0D467FC-2E6C-99DF-C8EA-5507E447FC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D3E82-76FF-4369-AC74-43983A859D2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264845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037B95-58C1-0092-88AE-9F42026BA2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AB54310-506C-058F-7D9A-F9DECD86F1A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3669856-300F-79AF-2653-C5E9CB6796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Freitag, 23. Mai 2025</a:t>
            </a:r>
            <a:endParaRPr lang="de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1384023-AA65-D62E-104F-C87A18F7D7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490232" y="6356350"/>
            <a:ext cx="5211536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Projektrealisierung | ResearchGrid EU (Gruppe 4) | ID: 004-RG-EU-2025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2ED32BE-9756-C9D1-C9E6-F25EFA2BDD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EBE964E-F132-479F-94BD-F84A15E55C3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1977818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89535E-4A28-0A4F-1B5A-4D6A2CD25C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7256CED-95DE-08A1-1AC8-E9C7C17FE6C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A200CA-0D30-A2CF-BE13-6CD6BCA5854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B3CD741-2F6C-2B78-C082-F5E2376F3C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Freitag, 23. Mai 2025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1D33DAF-1768-A087-61B0-0445F649FF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jektrealisierung | ResearchGrid EU (Gruppe 4) | ID: 004-RG-EU-2025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85ACED5-663D-E49C-961A-F77A3AA1B8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D3E82-76FF-4369-AC74-43983A859D2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9968573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CFBF9A-C836-AA4A-3138-6EBE82F8FC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196B04A-A69B-ED14-6B6B-F28B3F0BD11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CE2915-B867-BC33-CBD9-62DB080E9D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Freitag, 23. Mai 2025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476E0D5-7702-094F-D946-CF8EC3FB97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jektrealisierung | ResearchGrid EU (Gruppe 4) | ID: 004-RG-EU-2025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4E3ECE5-3162-2431-5793-351591C67F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D3E82-76FF-4369-AC74-43983A859D2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9126651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3C294BD-EEC5-80D2-D521-29E423476D6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58D9E9C-9AC3-E46F-6551-A1F9F07693A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84543A2-3320-F454-5FE5-8ED634CD69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Freitag, 23. Mai 2025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0039E4E-3CFB-832D-814C-1E5CFB6A8F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jektrealisierung | ResearchGrid EU (Gruppe 4) | ID: 004-RG-EU-2025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5427D9C-5C9D-8B42-A998-FC4F8392DD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D3E82-76FF-4369-AC74-43983A859D2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8018318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-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3296" y="6365848"/>
            <a:ext cx="4446269" cy="27305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3" name="Title 1">
            <a:extLst>
              <a:ext uri="{FF2B5EF4-FFF2-40B4-BE49-F238E27FC236}">
                <a16:creationId xmlns:a16="http://schemas.microsoft.com/office/drawing/2014/main" id="{647FBB06-57A1-478F-8BCE-57D05265516A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63296" y="5186209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AA5D9D6B-8AE5-40BD-B06B-DB5F7F3841F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16942" y="688848"/>
            <a:ext cx="5562600" cy="555650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20721664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1823" y="1714500"/>
            <a:ext cx="11277600" cy="46672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259C2253-8D87-4928-94C4-A4D186A7A8B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96593EEB-1CDC-4080-8C11-602DEAE102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31822BDD-E660-E51A-665B-6A4A9FF6DCC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Projektrealisierung | ResearchGrid EU (Gruppe 4) | ID: 004-RG-EU-2025</a:t>
            </a:r>
            <a:endParaRPr lang="de-DE" dirty="0"/>
          </a:p>
        </p:txBody>
      </p:sp>
      <p:sp>
        <p:nvSpPr>
          <p:cNvPr id="3" name="Date Placeholder 4">
            <a:extLst>
              <a:ext uri="{FF2B5EF4-FFF2-40B4-BE49-F238E27FC236}">
                <a16:creationId xmlns:a16="http://schemas.microsoft.com/office/drawing/2014/main" id="{E923412B-7874-D618-C2FA-6E8B9F19567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81000" y="6356350"/>
            <a:ext cx="3200401" cy="365125"/>
          </a:xfrm>
        </p:spPr>
        <p:txBody>
          <a:bodyPr/>
          <a:lstStyle/>
          <a:p>
            <a:r>
              <a:rPr lang="de-DE"/>
              <a:t>Freitag, 23. Mai 2025</a:t>
            </a:r>
            <a:endParaRPr lang="de-DE" dirty="0"/>
          </a:p>
        </p:txBody>
      </p:sp>
      <p:sp>
        <p:nvSpPr>
          <p:cNvPr id="4" name="Slide Number Placeholder 4">
            <a:extLst>
              <a:ext uri="{FF2B5EF4-FFF2-40B4-BE49-F238E27FC236}">
                <a16:creationId xmlns:a16="http://schemas.microsoft.com/office/drawing/2014/main" id="{0558B72F-0C98-4963-E500-8222496DCD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0E5D3E82-76FF-4369-AC74-43983A859D2F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67832966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13E114-150F-F569-7016-1D8CB4F131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1D6CDDC-ED61-C11E-2745-80C2CCD1498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ED4DC58-3A28-7FE9-2756-6A3DF82FE5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Freitag, 23. Mai 2025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D1733D-DF76-C9FF-71BB-7BDCC0C859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jektrealisierung | ResearchGrid EU (Gruppe 4) | ID: 004-RG-EU-2025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419CC83-5822-95DB-1C09-64F295B3BC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BE964E-F132-479F-94BD-F84A15E55C3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717384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BD78E0-D5D0-E9E4-DC71-B928356B3C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5897518-E309-B75D-091B-0BF3DF38FCB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922C398-BBE4-83CC-C4F5-0186580DCAE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26806A8-DD5B-1B50-DEC8-F2F3F97896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Freitag, 23. Mai 2025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B7C2D29-8F5D-1A78-BE31-CCF40F0C28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jektrealisierung | ResearchGrid EU (Gruppe 4) | ID: 004-RG-EU-2025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171282E-6B40-EB6C-CCB8-D861F289A8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BE964E-F132-479F-94BD-F84A15E55C3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627505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3CB65E-0C50-27A4-EED6-11C76EFE85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E5BCBB1-7021-54B3-D1A5-4742E8C9274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EF3C233-06A6-4B67-AA4C-4E6F92E2D9B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456103D-02C9-A368-06CF-65BE97ABBB3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347DB28-B8F1-5DC2-BC84-4EE864A1981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72C773B-5DE9-5B07-A78B-077A717C83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Freitag, 23. Mai 2025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CC2AD15-6B20-174A-3FC4-0FCA2C69E3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jektrealisierung | ResearchGrid EU (Gruppe 4) | ID: 004-RG-EU-2025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2AE5349-9910-7CE8-2565-3DC7411FB6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BE964E-F132-479F-94BD-F84A15E55C3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643532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AA513B-8634-9564-12B7-09A8AD9D7B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7C13F59-4CE7-9EB6-C064-9FD9585D12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Freitag, 23. Mai 2025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EC9FE2A-1C88-E7EE-16B4-EF7CF3CBF8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jektrealisierung | ResearchGrid EU (Gruppe 4) | ID: 004-RG-EU-2025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54FFAF4-9A79-BE25-D271-EDEA7C6959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BE964E-F132-479F-94BD-F84A15E55C3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437967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93A8D56-6209-A554-F243-0294FA2DF3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Freitag, 23. Mai 2025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97DC15C-F87A-FDBF-9327-4ACCBE808D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jektrealisierung | ResearchGrid EU (Gruppe 4) | ID: 004-RG-EU-2025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3022F02-D792-9181-0537-33CD943581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BE964E-F132-479F-94BD-F84A15E55C3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308303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DCAE7E-EAAD-0121-203B-8F9E4341D8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06BEF0A-7FE8-DC73-81F4-AF8F7A232C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D6B88EE-B04A-5B46-5C45-966B98B4B40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2D421E3-C46A-59BD-56FF-31C344086B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Freitag, 23. Mai 2025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E2D653B-88C9-460A-F38B-CE0B29004C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jektrealisierung | ResearchGrid EU (Gruppe 4) | ID: 004-RG-EU-2025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D49F927-7B94-B81B-F4F0-72183D68EB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BE964E-F132-479F-94BD-F84A15E55C3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378991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F3B7F5-7D20-EAF9-C287-CA5F59F710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1F99566-7401-929A-6B63-8B95266017D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D6205D3-534C-6459-BDAD-9D1ACE538F6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2C29E50-23F8-9C27-D504-F884B61E0D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Freitag, 23. Mai 2025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89EF6B9-F595-2405-333D-2372B03177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jektrealisierung | ResearchGrid EU (Gruppe 4) | ID: 004-RG-EU-2025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6635F31-31B2-E176-C06A-CE2C932E44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BE964E-F132-479F-94BD-F84A15E55C3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186752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6C9192B-2FB6-136B-9D45-F0A2814AD5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71D4C63-0A94-DB12-78A5-BD1FF2E5F3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B636285-B3A7-52CB-0CD8-AE7A8CE6C4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DE"/>
              <a:t>Freitag, 23. Mai 2025</a:t>
            </a:r>
            <a:endParaRPr lang="de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11A2C37-C622-A1A9-DAD2-7D1AC49850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DE"/>
              <a:t>Projektrealisierung | ResearchGrid EU (Gruppe 4) | ID: 004-RG-EU-2025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6B32922-5E28-DA6A-72E5-63B795466B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BEBE964E-F132-479F-94BD-F84A15E55C3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F21505C0-6AF2-EAD6-9E9B-64FEC2E214FE}"/>
              </a:ext>
            </a:extLst>
          </p:cNvPr>
          <p:cNvSpPr/>
          <p:nvPr userDrawn="1"/>
        </p:nvSpPr>
        <p:spPr>
          <a:xfrm>
            <a:off x="12572022" y="1594338"/>
            <a:ext cx="914400" cy="914400"/>
          </a:xfrm>
          <a:prstGeom prst="rect">
            <a:avLst/>
          </a:prstGeom>
          <a:solidFill>
            <a:srgbClr val="00257C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0BD88645-7CC2-85A4-89FE-ECEB43645671}"/>
              </a:ext>
            </a:extLst>
          </p:cNvPr>
          <p:cNvSpPr/>
          <p:nvPr userDrawn="1"/>
        </p:nvSpPr>
        <p:spPr>
          <a:xfrm>
            <a:off x="12572022" y="2656582"/>
            <a:ext cx="914400" cy="914400"/>
          </a:xfrm>
          <a:prstGeom prst="rect">
            <a:avLst/>
          </a:prstGeom>
          <a:solidFill>
            <a:srgbClr val="FFC62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52E2D653-5222-4434-14EB-F4D3C867532B}"/>
              </a:ext>
            </a:extLst>
          </p:cNvPr>
          <p:cNvCxnSpPr>
            <a:cxnSpLocks/>
          </p:cNvCxnSpPr>
          <p:nvPr userDrawn="1"/>
        </p:nvCxnSpPr>
        <p:spPr>
          <a:xfrm>
            <a:off x="838200" y="6343650"/>
            <a:ext cx="10515600" cy="0"/>
          </a:xfrm>
          <a:prstGeom prst="line">
            <a:avLst/>
          </a:prstGeom>
          <a:ln>
            <a:solidFill>
              <a:srgbClr val="FFC62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841285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Aptos" panose="020B0004020202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AF59A00-20CE-8DC4-D55A-B43FE2AF9F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4B80FC4-3386-AD41-20ED-8A170912CB9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183D6A6-09EF-7AA8-130C-5CB51A89C1E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Freitag, 23. Mai 2025</a:t>
            </a:r>
            <a:endParaRPr lang="de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25E7506-B7C5-A6B7-82FF-188EFB6838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Projektrealisierung | ResearchGrid EU (Gruppe 4) | ID: 004-RG-EU-2025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0758401-1BCA-9754-1726-3477C07455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E5D3E82-76FF-4369-AC74-43983A859D2F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414187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1.xml"/><Relationship Id="rId4" Type="http://schemas.openxmlformats.org/officeDocument/2006/relationships/image" Target="../media/image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10.sv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2.xml"/><Relationship Id="rId4" Type="http://schemas.openxmlformats.org/officeDocument/2006/relationships/image" Target="../media/image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D71BEE5-A398-8AB5-460A-4590D9F591A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>
            <a:extLst>
              <a:ext uri="{FF2B5EF4-FFF2-40B4-BE49-F238E27FC236}">
                <a16:creationId xmlns:a16="http://schemas.microsoft.com/office/drawing/2014/main" id="{B0D484EA-2C4F-A1A2-D08B-8B2D15D28362}"/>
              </a:ext>
            </a:extLst>
          </p:cNvPr>
          <p:cNvSpPr txBox="1">
            <a:spLocks/>
          </p:cNvSpPr>
          <p:nvPr/>
        </p:nvSpPr>
        <p:spPr bwMode="gray">
          <a:xfrm>
            <a:off x="501651" y="5237007"/>
            <a:ext cx="6605269" cy="89598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ts val="3200"/>
              </a:lnSpc>
              <a:spcBef>
                <a:spcPct val="0"/>
              </a:spcBef>
              <a:buNone/>
              <a:defRPr sz="3200" b="0" kern="120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ts val="3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1" i="0" u="none" strike="noStrike" kern="1200" cap="small" spc="0" normalizeH="0" baseline="0" noProof="0" dirty="0">
                <a:ln>
                  <a:noFill/>
                </a:ln>
                <a:solidFill>
                  <a:srgbClr val="00257C"/>
                </a:solidFill>
                <a:effectLst/>
                <a:uLnTx/>
                <a:uFillTx/>
                <a:latin typeface="Calibri" panose="020F0502020204030204"/>
                <a:ea typeface="Open Sans" panose="020B0606030504020204" pitchFamily="34" charset="0"/>
                <a:cs typeface="Calibri Light" panose="020F0302020204030204" pitchFamily="34" charset="0"/>
              </a:rPr>
              <a:t>ResearchGrid EU</a:t>
            </a:r>
            <a:br>
              <a:rPr kumimoji="0" lang="en-GB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rPr>
            </a:br>
            <a:r>
              <a:rPr kumimoji="0" lang="en-US" sz="2800" b="1" i="0" u="none" strike="noStrike" kern="1200" cap="small" spc="0" normalizeH="0" baseline="0" noProof="0" dirty="0" err="1">
                <a:ln>
                  <a:noFill/>
                </a:ln>
                <a:solidFill>
                  <a:srgbClr val="FFC620"/>
                </a:solidFill>
                <a:effectLst/>
                <a:uLnTx/>
                <a:uFillTx/>
                <a:latin typeface="Calibri" panose="020F0502020204030204"/>
                <a:ea typeface="Open Sans" panose="020B0606030504020204" pitchFamily="34" charset="0"/>
                <a:cs typeface="Calibri Light" panose="020F0302020204030204" pitchFamily="34" charset="0"/>
              </a:rPr>
              <a:t>Chancen</a:t>
            </a:r>
            <a:r>
              <a:rPr kumimoji="0" lang="en-US" sz="2800" b="1" i="0" u="none" strike="noStrike" kern="1200" cap="small" spc="0" normalizeH="0" baseline="0" noProof="0" dirty="0">
                <a:ln>
                  <a:noFill/>
                </a:ln>
                <a:solidFill>
                  <a:srgbClr val="FFC620"/>
                </a:solidFill>
                <a:effectLst/>
                <a:uLnTx/>
                <a:uFillTx/>
                <a:latin typeface="Calibri" panose="020F0502020204030204"/>
                <a:ea typeface="Open Sans" panose="020B0606030504020204" pitchFamily="34" charset="0"/>
                <a:cs typeface="Calibri Light" panose="020F0302020204030204" pitchFamily="34" charset="0"/>
              </a:rPr>
              <a:t> für die EU </a:t>
            </a:r>
            <a:r>
              <a:rPr kumimoji="0" lang="en-US" sz="2800" b="1" i="0" u="none" strike="noStrike" kern="1200" cap="small" spc="0" normalizeH="0" baseline="0" noProof="0" dirty="0" err="1">
                <a:ln>
                  <a:noFill/>
                </a:ln>
                <a:solidFill>
                  <a:srgbClr val="FFC620"/>
                </a:solidFill>
                <a:effectLst/>
                <a:uLnTx/>
                <a:uFillTx/>
                <a:latin typeface="Calibri" panose="020F0502020204030204"/>
                <a:ea typeface="Open Sans" panose="020B0606030504020204" pitchFamily="34" charset="0"/>
                <a:cs typeface="Calibri Light" panose="020F0302020204030204" pitchFamily="34" charset="0"/>
              </a:rPr>
              <a:t>im</a:t>
            </a:r>
            <a:r>
              <a:rPr kumimoji="0" lang="en-US" sz="2800" b="1" i="0" u="none" strike="noStrike" kern="1200" cap="small" spc="0" normalizeH="0" baseline="0" noProof="0" dirty="0">
                <a:ln>
                  <a:noFill/>
                </a:ln>
                <a:solidFill>
                  <a:srgbClr val="FFC620"/>
                </a:solidFill>
                <a:effectLst/>
                <a:uLnTx/>
                <a:uFillTx/>
                <a:latin typeface="Calibri" panose="020F0502020204030204"/>
                <a:ea typeface="Open Sans" panose="020B0606030504020204" pitchFamily="34" charset="0"/>
                <a:cs typeface="Calibri Light" panose="020F0302020204030204" pitchFamily="34" charset="0"/>
              </a:rPr>
              <a:t> </a:t>
            </a:r>
            <a:r>
              <a:rPr kumimoji="0" lang="en-US" sz="2800" b="1" i="0" u="none" strike="noStrike" kern="1200" cap="small" spc="0" normalizeH="0" baseline="0" noProof="0" dirty="0" err="1">
                <a:ln>
                  <a:noFill/>
                </a:ln>
                <a:solidFill>
                  <a:srgbClr val="FFC620"/>
                </a:solidFill>
                <a:effectLst/>
                <a:uLnTx/>
                <a:uFillTx/>
                <a:latin typeface="Calibri" panose="020F0502020204030204"/>
                <a:ea typeface="Open Sans" panose="020B0606030504020204" pitchFamily="34" charset="0"/>
                <a:cs typeface="Calibri Light" panose="020F0302020204030204" pitchFamily="34" charset="0"/>
              </a:rPr>
              <a:t>Bereich</a:t>
            </a:r>
            <a:r>
              <a:rPr kumimoji="0" lang="en-US" sz="2800" b="1" i="0" u="none" strike="noStrike" kern="1200" cap="small" spc="0" normalizeH="0" baseline="0" noProof="0" dirty="0">
                <a:ln>
                  <a:noFill/>
                </a:ln>
                <a:solidFill>
                  <a:srgbClr val="FFC620"/>
                </a:solidFill>
                <a:effectLst/>
                <a:uLnTx/>
                <a:uFillTx/>
                <a:latin typeface="Calibri" panose="020F0502020204030204"/>
                <a:ea typeface="Open Sans" panose="020B0606030504020204" pitchFamily="34" charset="0"/>
                <a:cs typeface="Calibri Light" panose="020F0302020204030204" pitchFamily="34" charset="0"/>
              </a:rPr>
              <a:t> Data Science</a:t>
            </a:r>
            <a:endParaRPr kumimoji="0" lang="en-GB" sz="3200" b="1" i="0" u="none" strike="noStrike" kern="1200" cap="small" spc="0" normalizeH="0" baseline="0" noProof="0" dirty="0">
              <a:ln>
                <a:noFill/>
              </a:ln>
              <a:solidFill>
                <a:srgbClr val="FFC620"/>
              </a:solidFill>
              <a:effectLst/>
              <a:uLnTx/>
              <a:uFillTx/>
              <a:latin typeface="Calibri" panose="020F0502020204030204"/>
              <a:ea typeface="Open Sans" panose="020B0606030504020204" pitchFamily="34" charset="0"/>
              <a:cs typeface="Calibri Light" panose="020F0302020204030204" pitchFamily="34" charset="0"/>
            </a:endParaRP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A15CAEDB-780C-484C-8F6B-3550289EAD0E}"/>
              </a:ext>
            </a:extLst>
          </p:cNvPr>
          <p:cNvSpPr txBox="1">
            <a:spLocks/>
          </p:cNvSpPr>
          <p:nvPr/>
        </p:nvSpPr>
        <p:spPr>
          <a:xfrm>
            <a:off x="501651" y="6381750"/>
            <a:ext cx="8503671" cy="2730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Tx/>
              <a:buNone/>
              <a:defRPr sz="1400" b="1" kern="12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>
                <a:solidFill>
                  <a:schemeClr val="bg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GB" sz="1400" b="1" i="0" u="none" strike="noStrike" kern="1200" cap="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OSE2025 | DHBW Mannheim | </a:t>
            </a:r>
            <a:r>
              <a:rPr kumimoji="0" lang="en-GB" sz="1400" b="1" i="0" u="none" strike="noStrike" kern="1200" cap="all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ojektrealisierung</a:t>
            </a:r>
            <a:r>
              <a:rPr kumimoji="0" lang="en-GB" sz="1400" b="1" i="0" u="none" strike="noStrike" kern="1200" cap="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| Freitag, 23. </a:t>
            </a:r>
            <a:r>
              <a:rPr lang="en-GB" cap="all" dirty="0">
                <a:solidFill>
                  <a:prstClr val="black"/>
                </a:solidFill>
              </a:rPr>
              <a:t>Juni</a:t>
            </a:r>
            <a:r>
              <a:rPr kumimoji="0" lang="en-GB" sz="1400" b="1" i="0" u="none" strike="noStrike" kern="1200" cap="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2025 | ID: 004-RG-EU-2025</a:t>
            </a:r>
          </a:p>
        </p:txBody>
      </p:sp>
      <p:sp>
        <p:nvSpPr>
          <p:cNvPr id="2" name="Ellipse 1">
            <a:extLst>
              <a:ext uri="{FF2B5EF4-FFF2-40B4-BE49-F238E27FC236}">
                <a16:creationId xmlns:a16="http://schemas.microsoft.com/office/drawing/2014/main" id="{7F8A8E15-9416-548A-D977-90A0320061F4}"/>
              </a:ext>
            </a:extLst>
          </p:cNvPr>
          <p:cNvSpPr/>
          <p:nvPr/>
        </p:nvSpPr>
        <p:spPr>
          <a:xfrm>
            <a:off x="3954000" y="533632"/>
            <a:ext cx="4284000" cy="4284000"/>
          </a:xfrm>
          <a:prstGeom prst="ellipse">
            <a:avLst/>
          </a:prstGeom>
          <a:blipFill>
            <a:blip r:embed="rId4"/>
            <a:stretch>
              <a:fillRect/>
            </a:stretch>
          </a:blipFill>
          <a:ln w="50800">
            <a:solidFill>
              <a:srgbClr val="FFC62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62E6C36-40AF-BF37-2785-0F6C9D4C4AE2}"/>
              </a:ext>
            </a:extLst>
          </p:cNvPr>
          <p:cNvSpPr txBox="1">
            <a:spLocks/>
          </p:cNvSpPr>
          <p:nvPr/>
        </p:nvSpPr>
        <p:spPr>
          <a:xfrm>
            <a:off x="7244082" y="5535248"/>
            <a:ext cx="4446269" cy="10668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Tx/>
              <a:buNone/>
              <a:defRPr sz="1400" b="1" kern="12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>
                <a:solidFill>
                  <a:schemeClr val="bg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400" b="1" i="0" u="none" strike="noStrike" kern="1200" cap="sm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arlo Rinderer | 1902925</a:t>
            </a:r>
          </a:p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400" b="1" i="0" u="none" strike="noStrike" kern="1200" cap="sm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vid Simon | 1893552</a:t>
            </a:r>
          </a:p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400" b="1" i="0" u="none" strike="noStrike" kern="1200" cap="sm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iklas Seither | 4253802</a:t>
            </a:r>
          </a:p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400" b="1" i="0" u="none" strike="noStrike" kern="1200" cap="sm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Yanick Bedel | 8424886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C05AE120-CB94-354F-9577-14826162E889}"/>
              </a:ext>
            </a:extLst>
          </p:cNvPr>
          <p:cNvSpPr/>
          <p:nvPr/>
        </p:nvSpPr>
        <p:spPr>
          <a:xfrm>
            <a:off x="13010465" y="1251438"/>
            <a:ext cx="914400" cy="914400"/>
          </a:xfrm>
          <a:prstGeom prst="rect">
            <a:avLst/>
          </a:prstGeom>
          <a:solidFill>
            <a:srgbClr val="00257C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E46123CC-4546-3050-2C02-BA04B23B891C}"/>
              </a:ext>
            </a:extLst>
          </p:cNvPr>
          <p:cNvSpPr/>
          <p:nvPr/>
        </p:nvSpPr>
        <p:spPr>
          <a:xfrm>
            <a:off x="13010465" y="2313682"/>
            <a:ext cx="914400" cy="914400"/>
          </a:xfrm>
          <a:prstGeom prst="rect">
            <a:avLst/>
          </a:prstGeom>
          <a:solidFill>
            <a:srgbClr val="FFC62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Rectangle 3">
            <a:extLst>
              <a:ext uri="{FF2B5EF4-FFF2-40B4-BE49-F238E27FC236}">
                <a16:creationId xmlns:a16="http://schemas.microsoft.com/office/drawing/2014/main" id="{9B246451-2425-3038-C0DB-3BFB053F04EE}"/>
              </a:ext>
            </a:extLst>
          </p:cNvPr>
          <p:cNvSpPr/>
          <p:nvPr/>
        </p:nvSpPr>
        <p:spPr>
          <a:xfrm>
            <a:off x="12985064" y="3429000"/>
            <a:ext cx="939801" cy="1139109"/>
          </a:xfrm>
          <a:prstGeom prst="round2SameRect">
            <a:avLst/>
          </a:prstGeom>
          <a:solidFill>
            <a:schemeClr val="bg1">
              <a:lumMod val="6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4690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F97F2F-7975-59F3-79FE-219AE73293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C6B09D9-B9FB-EE37-175A-1B7749BF0B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3025"/>
            <a:ext cx="10515600" cy="1325563"/>
          </a:xfrm>
        </p:spPr>
        <p:txBody>
          <a:bodyPr/>
          <a:lstStyle/>
          <a:p>
            <a:r>
              <a:rPr lang="de-DE" cap="small" dirty="0"/>
              <a:t>Detaillierter PSP mit Status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23DD6F8-7FE6-2D4C-5F23-84D65BA480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Freitag, 23. Juni 2025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0693520-F2FA-1A4B-5AA7-E2FDC75A79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jektrealisierung | ResearchGrid EU (Gruppe 4) | ID: 004-RG-EU-2025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5E5058A-6588-6B68-55EC-A2151FDB1E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dirty="0"/>
              <a:t>1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0831F003-647F-F0C2-99C9-44D5FCCE6BC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58256" y="1112807"/>
            <a:ext cx="5475489" cy="5154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404984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2A6211-A667-0903-02B1-F95B76F3E6B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CBB1148-92C0-3AF4-31A3-D7C3D6C4F9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3025"/>
            <a:ext cx="10632970" cy="1325563"/>
          </a:xfrm>
        </p:spPr>
        <p:txBody>
          <a:bodyPr/>
          <a:lstStyle/>
          <a:p>
            <a:r>
              <a:rPr lang="de-DE" cap="small" dirty="0"/>
              <a:t>Aufbau und Beschreibung der Arbeitspaket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E7059DF-35E7-0671-FEBB-FBE981332B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jektrealisierung | ResearchGrid EU (Gruppe 4) | ID: 004-RG-EU-2025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A80A721-4A71-D747-C5E9-756ED438B7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dirty="0"/>
              <a:t>2</a:t>
            </a:r>
          </a:p>
        </p:txBody>
      </p:sp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5F570CDE-48AC-63EB-651B-F7DAE3C9971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69354921"/>
              </p:ext>
            </p:extLst>
          </p:nvPr>
        </p:nvGraphicFramePr>
        <p:xfrm>
          <a:off x="1859858" y="1277664"/>
          <a:ext cx="8472284" cy="4158931"/>
        </p:xfrm>
        <a:graphic>
          <a:graphicData uri="http://schemas.openxmlformats.org/drawingml/2006/table">
            <a:tbl>
              <a:tblPr firstRow="1" firstCol="1" bandRow="1"/>
              <a:tblGrid>
                <a:gridCol w="3039825">
                  <a:extLst>
                    <a:ext uri="{9D8B030D-6E8A-4147-A177-3AD203B41FA5}">
                      <a16:colId xmlns:a16="http://schemas.microsoft.com/office/drawing/2014/main" val="3637049197"/>
                    </a:ext>
                  </a:extLst>
                </a:gridCol>
                <a:gridCol w="5432459">
                  <a:extLst>
                    <a:ext uri="{9D8B030D-6E8A-4147-A177-3AD203B41FA5}">
                      <a16:colId xmlns:a16="http://schemas.microsoft.com/office/drawing/2014/main" val="3633361654"/>
                    </a:ext>
                  </a:extLst>
                </a:gridCol>
              </a:tblGrid>
              <a:tr h="10679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e-DE" sz="1200" b="1" kern="100" dirty="0">
                          <a:solidFill>
                            <a:srgbClr val="00257C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SP-Code:</a:t>
                      </a:r>
                      <a:endParaRPr lang="de-DE" sz="1200" kern="100" dirty="0">
                        <a:solidFill>
                          <a:srgbClr val="00257C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406" marR="3940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e-DE" sz="1200" kern="1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hase-AP-Nummer</a:t>
                      </a:r>
                      <a:endParaRPr lang="de-DE" sz="12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406" marR="3940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69167710"/>
                  </a:ext>
                </a:extLst>
              </a:tr>
              <a:tr h="21925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e-DE" sz="1200" b="1" kern="100" dirty="0">
                          <a:solidFill>
                            <a:srgbClr val="00257C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ame des Arbeitspakets:</a:t>
                      </a:r>
                      <a:endParaRPr lang="de-DE" sz="1200" kern="100" dirty="0">
                        <a:solidFill>
                          <a:srgbClr val="00257C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406" marR="3940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e-DE" sz="1200" kern="1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</a:t>
                      </a:r>
                      <a:endParaRPr lang="de-DE" sz="12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406" marR="3940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80198289"/>
                  </a:ext>
                </a:extLst>
              </a:tr>
              <a:tr h="10679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e-DE" sz="1200" b="1" kern="100" dirty="0">
                          <a:solidFill>
                            <a:srgbClr val="00257C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Verantwortlicher:</a:t>
                      </a:r>
                      <a:endParaRPr lang="de-DE" sz="1200" kern="100" dirty="0">
                        <a:solidFill>
                          <a:srgbClr val="00257C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406" marR="3940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e-DE" sz="1200" kern="1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</a:t>
                      </a:r>
                      <a:endParaRPr lang="de-DE" sz="12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406" marR="3940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66350489"/>
                  </a:ext>
                </a:extLst>
              </a:tr>
              <a:tr h="120645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e-DE" sz="1200" b="1" kern="100" dirty="0">
                          <a:solidFill>
                            <a:srgbClr val="00257C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Geplanter Aufwand in Stunden:</a:t>
                      </a:r>
                      <a:endParaRPr lang="de-DE" sz="1200" kern="100" dirty="0">
                        <a:solidFill>
                          <a:srgbClr val="00257C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406" marR="3940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300"/>
                        </a:spcAft>
                        <a:buFont typeface="Calibri" panose="020F0502020204030204" pitchFamily="34" charset="0"/>
                        <a:buChar char="•"/>
                      </a:pPr>
                      <a:r>
                        <a:rPr lang="de-DE" sz="1200" kern="1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arlo Rinderer (</a:t>
                      </a:r>
                      <a:r>
                        <a:rPr lang="de-DE" sz="1200" kern="1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atr</a:t>
                      </a:r>
                      <a:r>
                        <a:rPr lang="de-DE" sz="1200" kern="1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.-Nr.: 1902925) - h</a:t>
                      </a:r>
                      <a:endParaRPr lang="de-DE" sz="12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300"/>
                        </a:spcAft>
                        <a:buFont typeface="Calibri" panose="020F0502020204030204" pitchFamily="34" charset="0"/>
                        <a:buChar char="•"/>
                      </a:pPr>
                      <a:r>
                        <a:rPr lang="en-US" sz="1200" kern="1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avid Simon (Matr.-Nr.: 1893552) - h</a:t>
                      </a:r>
                      <a:endParaRPr lang="de-DE" sz="12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300"/>
                        </a:spcAft>
                        <a:buFont typeface="Calibri" panose="020F0502020204030204" pitchFamily="34" charset="0"/>
                        <a:buChar char="•"/>
                      </a:pPr>
                      <a:r>
                        <a:rPr lang="de-DE" sz="1200" kern="1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iklas Seither (</a:t>
                      </a:r>
                      <a:r>
                        <a:rPr lang="de-DE" sz="1200" kern="1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atr</a:t>
                      </a:r>
                      <a:r>
                        <a:rPr lang="de-DE" sz="1200" kern="1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.-Nr.: 4253802) - h</a:t>
                      </a:r>
                      <a:endParaRPr lang="de-DE" sz="12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300"/>
                        </a:spcAft>
                        <a:buFont typeface="Calibri" panose="020F0502020204030204" pitchFamily="34" charset="0"/>
                        <a:buChar char="•"/>
                      </a:pPr>
                      <a:r>
                        <a:rPr lang="de-DE" sz="1200" kern="1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Yanick Bedel (</a:t>
                      </a:r>
                      <a:r>
                        <a:rPr lang="de-DE" sz="1200" kern="1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atr</a:t>
                      </a:r>
                      <a:r>
                        <a:rPr lang="de-DE" sz="1200" kern="1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.-Nr.: 8424886) - h</a:t>
                      </a:r>
                      <a:endParaRPr lang="de-DE" sz="12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e-DE" sz="1200" b="1" kern="1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Gesamtaufwand des Arbeitspaketes: - h</a:t>
                      </a:r>
                      <a:endParaRPr lang="de-DE" sz="12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406" marR="3940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48454086"/>
                  </a:ext>
                </a:extLst>
              </a:tr>
              <a:tr h="44416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e-DE" sz="1200" b="1" kern="100" dirty="0">
                          <a:solidFill>
                            <a:srgbClr val="00257C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ufgabenstellung:</a:t>
                      </a:r>
                      <a:endParaRPr lang="de-DE" sz="1200" kern="100" dirty="0">
                        <a:solidFill>
                          <a:srgbClr val="00257C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406" marR="3940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e-DE" sz="1200" kern="1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</a:t>
                      </a:r>
                      <a:endParaRPr lang="de-DE" sz="12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406" marR="3940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1843583"/>
                  </a:ext>
                </a:extLst>
              </a:tr>
              <a:tr h="33170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e-DE" sz="1200" b="1" kern="100" dirty="0">
                          <a:solidFill>
                            <a:srgbClr val="00257C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Zieldefinition</a:t>
                      </a:r>
                      <a:endParaRPr lang="de-DE" sz="1200" kern="100" dirty="0">
                        <a:solidFill>
                          <a:srgbClr val="00257C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406" marR="3940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e-DE" sz="1200" kern="1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</a:t>
                      </a:r>
                      <a:endParaRPr lang="de-DE" sz="12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406" marR="3940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0085962"/>
                  </a:ext>
                </a:extLst>
              </a:tr>
              <a:tr h="27763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e-DE" sz="1200" b="1" kern="100" dirty="0">
                          <a:solidFill>
                            <a:srgbClr val="00257C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Voraussetzungen (Vorgänger-AP):</a:t>
                      </a:r>
                      <a:endParaRPr lang="de-DE" sz="1200" kern="100" dirty="0">
                        <a:solidFill>
                          <a:srgbClr val="00257C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406" marR="3940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e-DE" sz="1200" kern="1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</a:t>
                      </a:r>
                      <a:endParaRPr lang="de-DE" sz="12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406" marR="3940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63830281"/>
                  </a:ext>
                </a:extLst>
              </a:tr>
              <a:tr h="55661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e-DE" sz="1200" b="1" kern="100" dirty="0">
                          <a:solidFill>
                            <a:srgbClr val="00257C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Hilfsmittel/Ressourcen:</a:t>
                      </a:r>
                      <a:endParaRPr lang="de-DE" sz="1200" kern="100" dirty="0">
                        <a:solidFill>
                          <a:srgbClr val="00257C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406" marR="3940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e-DE" sz="1200" kern="1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</a:t>
                      </a:r>
                      <a:endParaRPr lang="de-DE" sz="12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406" marR="3940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8979836"/>
                  </a:ext>
                </a:extLst>
              </a:tr>
              <a:tr h="33170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300"/>
                        </a:spcAft>
                        <a:buNone/>
                      </a:pPr>
                      <a:r>
                        <a:rPr lang="de-DE" sz="1200" b="1" kern="100" dirty="0">
                          <a:solidFill>
                            <a:srgbClr val="00257C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isiken:</a:t>
                      </a:r>
                      <a:endParaRPr lang="de-DE" sz="1200" kern="100" dirty="0">
                        <a:solidFill>
                          <a:srgbClr val="00257C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406" marR="3940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300"/>
                        </a:spcAft>
                        <a:buNone/>
                      </a:pPr>
                      <a:r>
                        <a:rPr lang="de-DE" sz="1200" kern="1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</a:t>
                      </a:r>
                      <a:endParaRPr lang="de-DE" sz="12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406" marR="3940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6038033"/>
                  </a:ext>
                </a:extLst>
              </a:tr>
              <a:tr h="33170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e-DE" sz="1200" b="1" kern="100" dirty="0">
                          <a:solidFill>
                            <a:srgbClr val="00257C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chnittstellen zu anderen Arbeitspaketen:</a:t>
                      </a:r>
                      <a:endParaRPr lang="de-DE" sz="1200" kern="100" dirty="0">
                        <a:solidFill>
                          <a:srgbClr val="00257C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406" marR="3940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07000"/>
                        </a:lnSpc>
                        <a:spcAft>
                          <a:spcPts val="300"/>
                        </a:spcAft>
                        <a:buFont typeface="Calibri" panose="020F0502020204030204" pitchFamily="34" charset="0"/>
                        <a:buChar char="•"/>
                      </a:pPr>
                      <a:r>
                        <a:rPr lang="de-DE" sz="1200" b="1" kern="1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Vorgänger: </a:t>
                      </a:r>
                      <a:r>
                        <a:rPr lang="de-DE" sz="1200" kern="1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</a:t>
                      </a:r>
                      <a:endParaRPr lang="de-DE" sz="12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 algn="just">
                        <a:lnSpc>
                          <a:spcPct val="107000"/>
                        </a:lnSpc>
                        <a:spcAft>
                          <a:spcPts val="300"/>
                        </a:spcAft>
                        <a:buFont typeface="Calibri" panose="020F0502020204030204" pitchFamily="34" charset="0"/>
                        <a:buChar char="•"/>
                      </a:pPr>
                      <a:r>
                        <a:rPr lang="de-DE" sz="1200" b="1" kern="1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achfolger: -</a:t>
                      </a:r>
                      <a:endParaRPr lang="de-DE" sz="12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406" marR="3940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088837"/>
                  </a:ext>
                </a:extLst>
              </a:tr>
            </a:tbl>
          </a:graphicData>
        </a:graphic>
      </p:graphicFrame>
      <p:sp>
        <p:nvSpPr>
          <p:cNvPr id="3" name="Datumsplatzhalter 3">
            <a:extLst>
              <a:ext uri="{FF2B5EF4-FFF2-40B4-BE49-F238E27FC236}">
                <a16:creationId xmlns:a16="http://schemas.microsoft.com/office/drawing/2014/main" id="{3D8348D5-E0C2-AEAE-0D0E-76CCFA06EB8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/>
          <a:lstStyle/>
          <a:p>
            <a:r>
              <a:rPr lang="de-DE" dirty="0"/>
              <a:t>Freitag, 23. Juni 2025</a:t>
            </a:r>
          </a:p>
        </p:txBody>
      </p:sp>
    </p:spTree>
    <p:extLst>
      <p:ext uri="{BB962C8B-B14F-4D97-AF65-F5344CB8AC3E}">
        <p14:creationId xmlns:p14="http://schemas.microsoft.com/office/powerpoint/2010/main" val="342341779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3BAD53-8084-0A97-8F88-B6DE6EBC65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5">
            <a:extLst>
              <a:ext uri="{FF2B5EF4-FFF2-40B4-BE49-F238E27FC236}">
                <a16:creationId xmlns:a16="http://schemas.microsoft.com/office/drawing/2014/main" id="{484DF2C7-4CC2-5F32-EE2F-56B4C639722C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b="7740"/>
          <a:stretch/>
        </p:blipFill>
        <p:spPr>
          <a:xfrm>
            <a:off x="1337803" y="501718"/>
            <a:ext cx="9516394" cy="5712735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46E15F4E-CC48-FBD4-BB58-D4053695FF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3025"/>
            <a:ext cx="10515600" cy="1325563"/>
          </a:xfrm>
        </p:spPr>
        <p:txBody>
          <a:bodyPr/>
          <a:lstStyle/>
          <a:p>
            <a:r>
              <a:rPr lang="de-DE" cap="small" dirty="0"/>
              <a:t>Beispielhafte Visualisierungen (Auszüge)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2AFD705-03E5-91BF-A679-EF14D6FDF3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jektrealisierung | ResearchGrid EU (Gruppe 4) | ID: 004-RG-EU-2025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5E34A13-C9FB-BB06-CE2E-835A787EB7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dirty="0"/>
              <a:t>3</a:t>
            </a:r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BCF73400-70DA-9763-6F10-96CBE97675CC}"/>
              </a:ext>
            </a:extLst>
          </p:cNvPr>
          <p:cNvCxnSpPr>
            <a:cxnSpLocks/>
          </p:cNvCxnSpPr>
          <p:nvPr/>
        </p:nvCxnSpPr>
        <p:spPr>
          <a:xfrm flipH="1">
            <a:off x="2840383" y="3356981"/>
            <a:ext cx="6511234" cy="0"/>
          </a:xfrm>
          <a:prstGeom prst="line">
            <a:avLst/>
          </a:prstGeom>
          <a:ln>
            <a:solidFill>
              <a:srgbClr val="00257C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feld 12">
            <a:extLst>
              <a:ext uri="{FF2B5EF4-FFF2-40B4-BE49-F238E27FC236}">
                <a16:creationId xmlns:a16="http://schemas.microsoft.com/office/drawing/2014/main" id="{C4459453-730D-9D54-0035-025607C35422}"/>
              </a:ext>
            </a:extLst>
          </p:cNvPr>
          <p:cNvSpPr txBox="1"/>
          <p:nvPr/>
        </p:nvSpPr>
        <p:spPr>
          <a:xfrm>
            <a:off x="3129511" y="1407727"/>
            <a:ext cx="262033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b="1" dirty="0">
                <a:solidFill>
                  <a:srgbClr val="FFC620"/>
                </a:solidFill>
              </a:rPr>
              <a:t>Elite vs. Nicht-Elite Forschung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88876B6D-E1F7-D8C7-B85D-207451BA6D18}"/>
              </a:ext>
            </a:extLst>
          </p:cNvPr>
          <p:cNvSpPr txBox="1"/>
          <p:nvPr/>
        </p:nvSpPr>
        <p:spPr>
          <a:xfrm>
            <a:off x="6282813" y="1407727"/>
            <a:ext cx="291515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b="1" dirty="0">
                <a:solidFill>
                  <a:srgbClr val="FFC620"/>
                </a:solidFill>
              </a:rPr>
              <a:t>Vergleich der Forschungseffizienz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0A6E10F7-BD72-01A3-C1BA-F75A9C14ED23}"/>
              </a:ext>
            </a:extLst>
          </p:cNvPr>
          <p:cNvSpPr txBox="1"/>
          <p:nvPr/>
        </p:nvSpPr>
        <p:spPr>
          <a:xfrm>
            <a:off x="2908361" y="3411527"/>
            <a:ext cx="306263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b="1" dirty="0">
                <a:solidFill>
                  <a:srgbClr val="FFC620"/>
                </a:solidFill>
              </a:rPr>
              <a:t>Zeitreihenanalyse der Investitionen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0638422C-56E9-D284-4F1D-11725B309832}"/>
              </a:ext>
            </a:extLst>
          </p:cNvPr>
          <p:cNvSpPr txBox="1"/>
          <p:nvPr/>
        </p:nvSpPr>
        <p:spPr>
          <a:xfrm>
            <a:off x="6201929" y="3411527"/>
            <a:ext cx="307090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b="1" dirty="0">
                <a:solidFill>
                  <a:srgbClr val="FFC620"/>
                </a:solidFill>
              </a:rPr>
              <a:t>Einfluss der Anzahl an Institutionen</a:t>
            </a:r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DBE8E280-9DEF-7D55-D22C-B18A617AB393}"/>
              </a:ext>
            </a:extLst>
          </p:cNvPr>
          <p:cNvCxnSpPr/>
          <p:nvPr/>
        </p:nvCxnSpPr>
        <p:spPr>
          <a:xfrm>
            <a:off x="6096000" y="1423030"/>
            <a:ext cx="0" cy="4011940"/>
          </a:xfrm>
          <a:prstGeom prst="line">
            <a:avLst/>
          </a:prstGeom>
          <a:ln>
            <a:solidFill>
              <a:srgbClr val="00257C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Datumsplatzhalter 3">
            <a:extLst>
              <a:ext uri="{FF2B5EF4-FFF2-40B4-BE49-F238E27FC236}">
                <a16:creationId xmlns:a16="http://schemas.microsoft.com/office/drawing/2014/main" id="{7EAD2484-5E82-EEF2-D4F2-A316E2028CC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/>
          <a:lstStyle/>
          <a:p>
            <a:r>
              <a:rPr lang="de-DE" dirty="0"/>
              <a:t>Freitag, 23. Juni 2025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377CEBA2-F280-86D0-534F-F24634DFBC5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10416" y="1765692"/>
            <a:ext cx="2210078" cy="1440000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009985DA-66B2-5B41-892D-421BF42D536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37721" y="1765692"/>
            <a:ext cx="1405340" cy="1440000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4129F061-5EA3-5E94-8DE8-CACFC022240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58323" y="3840207"/>
            <a:ext cx="3162709" cy="1440000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004A4229-E7E4-3F8D-9A97-51133916ABD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45275" y="3840207"/>
            <a:ext cx="2591500" cy="14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18339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34951A-F9BF-E628-34DF-9F25F34FBF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Freeform 1126">
            <a:extLst>
              <a:ext uri="{FF2B5EF4-FFF2-40B4-BE49-F238E27FC236}">
                <a16:creationId xmlns:a16="http://schemas.microsoft.com/office/drawing/2014/main" id="{3D786193-00CA-7BBA-0EE3-9D96E7455DBB}"/>
              </a:ext>
            </a:extLst>
          </p:cNvPr>
          <p:cNvSpPr>
            <a:spLocks/>
          </p:cNvSpPr>
          <p:nvPr/>
        </p:nvSpPr>
        <p:spPr bwMode="auto">
          <a:xfrm>
            <a:off x="944986" y="1988883"/>
            <a:ext cx="3594343" cy="1447491"/>
          </a:xfrm>
          <a:prstGeom prst="roundRect">
            <a:avLst>
              <a:gd name="adj" fmla="val 9576"/>
            </a:avLst>
          </a:prstGeom>
          <a:solidFill>
            <a:srgbClr val="A6A6A6"/>
          </a:solidFill>
          <a:ln w="25400">
            <a:noFill/>
          </a:ln>
        </p:spPr>
        <p:txBody>
          <a:bodyPr lIns="90000" rIns="540000"/>
          <a:lstStyle/>
          <a:p>
            <a:r>
              <a:rPr lang="de-DE" altLang="zh-CN" sz="1300" b="1" dirty="0" err="1">
                <a:solidFill>
                  <a:srgbClr val="FFFFFF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OpenAlex</a:t>
            </a:r>
            <a:r>
              <a:rPr lang="de-DE" altLang="zh-CN" sz="1300" b="1" dirty="0">
                <a:solidFill>
                  <a:srgbClr val="FFFFFF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-API</a:t>
            </a:r>
          </a:p>
          <a:p>
            <a:endParaRPr lang="de-DE" altLang="zh-CN" sz="1300" b="1" dirty="0">
              <a:solidFill>
                <a:srgbClr val="FFFFFF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altLang="zh-CN" sz="1300" dirty="0">
                <a:solidFill>
                  <a:srgbClr val="FFFFFF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Abweichende Funktionalitäten von der Websi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altLang="zh-CN" sz="1300" dirty="0">
                <a:solidFill>
                  <a:srgbClr val="FFFFFF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Nicht alle Parameter verfügba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altLang="zh-CN" sz="1300" dirty="0">
                <a:solidFill>
                  <a:srgbClr val="FFFFFF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Entwicklung von </a:t>
            </a:r>
            <a:r>
              <a:rPr lang="de-DE" altLang="zh-CN" sz="1300" dirty="0" err="1">
                <a:solidFill>
                  <a:srgbClr val="FFFFFF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workarounds</a:t>
            </a:r>
            <a:endParaRPr lang="en-US" altLang="zh-CN" sz="1300" dirty="0">
              <a:solidFill>
                <a:srgbClr val="FFFFFF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E4107F8-11F6-4111-207C-114B487137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3025"/>
            <a:ext cx="10723976" cy="1325563"/>
          </a:xfrm>
        </p:spPr>
        <p:txBody>
          <a:bodyPr/>
          <a:lstStyle/>
          <a:p>
            <a:r>
              <a:rPr lang="de-DE" cap="small" dirty="0"/>
              <a:t>Aufgetretene Challenges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F0BB3EE-21F7-3920-3410-08C61C2F70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jektrealisierung | ResearchGrid EU (Gruppe 4) | ID: 004-RG-EU-2025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342B6C1-077A-AF2A-A44A-E1FB41B29C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dirty="0"/>
              <a:t>4</a:t>
            </a:r>
          </a:p>
        </p:txBody>
      </p:sp>
      <p:grpSp>
        <p:nvGrpSpPr>
          <p:cNvPr id="7" name="Group 72">
            <a:extLst>
              <a:ext uri="{FF2B5EF4-FFF2-40B4-BE49-F238E27FC236}">
                <a16:creationId xmlns:a16="http://schemas.microsoft.com/office/drawing/2014/main" id="{82B432BB-9CCE-9DC2-6808-2658BCB60F25}"/>
              </a:ext>
            </a:extLst>
          </p:cNvPr>
          <p:cNvGrpSpPr/>
          <p:nvPr/>
        </p:nvGrpSpPr>
        <p:grpSpPr>
          <a:xfrm>
            <a:off x="5048467" y="1861962"/>
            <a:ext cx="2114344" cy="2714610"/>
            <a:chOff x="376236" y="1341438"/>
            <a:chExt cx="3060945" cy="3929953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A45CFCF4-DD82-1948-D6EC-7C17E03B54E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294" y="1341438"/>
              <a:ext cx="2888830" cy="946631"/>
            </a:xfrm>
            <a:custGeom>
              <a:avLst/>
              <a:gdLst>
                <a:gd name="T0" fmla="*/ 4021 w 4021"/>
                <a:gd name="T1" fmla="*/ 1317 h 1317"/>
                <a:gd name="T2" fmla="*/ 4021 w 4021"/>
                <a:gd name="T3" fmla="*/ 1317 h 1317"/>
                <a:gd name="T4" fmla="*/ 2010 w 4021"/>
                <a:gd name="T5" fmla="*/ 0 h 1317"/>
                <a:gd name="T6" fmla="*/ 0 w 4021"/>
                <a:gd name="T7" fmla="*/ 1317 h 1317"/>
                <a:gd name="T8" fmla="*/ 4021 w 4021"/>
                <a:gd name="T9" fmla="*/ 1317 h 1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21" h="1317">
                  <a:moveTo>
                    <a:pt x="4021" y="1317"/>
                  </a:moveTo>
                  <a:lnTo>
                    <a:pt x="4021" y="1317"/>
                  </a:lnTo>
                  <a:cubicBezTo>
                    <a:pt x="3733" y="492"/>
                    <a:pt x="2960" y="0"/>
                    <a:pt x="2010" y="0"/>
                  </a:cubicBezTo>
                  <a:cubicBezTo>
                    <a:pt x="1060" y="0"/>
                    <a:pt x="287" y="492"/>
                    <a:pt x="0" y="1317"/>
                  </a:cubicBezTo>
                  <a:lnTo>
                    <a:pt x="4021" y="1317"/>
                  </a:ln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00"/>
            </a:p>
          </p:txBody>
        </p:sp>
        <p:sp>
          <p:nvSpPr>
            <p:cNvPr id="9" name="Freeform 10">
              <a:extLst>
                <a:ext uri="{FF2B5EF4-FFF2-40B4-BE49-F238E27FC236}">
                  <a16:creationId xmlns:a16="http://schemas.microsoft.com/office/drawing/2014/main" id="{15E024A1-0FDA-5805-628A-D233992CDF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236" y="2358937"/>
              <a:ext cx="3060945" cy="911195"/>
            </a:xfrm>
            <a:custGeom>
              <a:avLst/>
              <a:gdLst>
                <a:gd name="T0" fmla="*/ 0 w 4262"/>
                <a:gd name="T1" fmla="*/ 643 h 1268"/>
                <a:gd name="T2" fmla="*/ 0 w 4262"/>
                <a:gd name="T3" fmla="*/ 643 h 1268"/>
                <a:gd name="T4" fmla="*/ 85 w 4262"/>
                <a:gd name="T5" fmla="*/ 1268 h 1268"/>
                <a:gd name="T6" fmla="*/ 4178 w 4262"/>
                <a:gd name="T7" fmla="*/ 1268 h 1268"/>
                <a:gd name="T8" fmla="*/ 4262 w 4262"/>
                <a:gd name="T9" fmla="*/ 643 h 1268"/>
                <a:gd name="T10" fmla="*/ 4174 w 4262"/>
                <a:gd name="T11" fmla="*/ 0 h 1268"/>
                <a:gd name="T12" fmla="*/ 89 w 4262"/>
                <a:gd name="T13" fmla="*/ 0 h 1268"/>
                <a:gd name="T14" fmla="*/ 0 w 4262"/>
                <a:gd name="T15" fmla="*/ 643 h 1268"/>
                <a:gd name="T16" fmla="*/ 0 w 4262"/>
                <a:gd name="T17" fmla="*/ 643 h 1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62" h="1268">
                  <a:moveTo>
                    <a:pt x="0" y="643"/>
                  </a:moveTo>
                  <a:lnTo>
                    <a:pt x="0" y="643"/>
                  </a:lnTo>
                  <a:cubicBezTo>
                    <a:pt x="0" y="876"/>
                    <a:pt x="32" y="1082"/>
                    <a:pt x="85" y="1268"/>
                  </a:cubicBezTo>
                  <a:lnTo>
                    <a:pt x="4178" y="1268"/>
                  </a:lnTo>
                  <a:cubicBezTo>
                    <a:pt x="4230" y="1082"/>
                    <a:pt x="4262" y="876"/>
                    <a:pt x="4262" y="643"/>
                  </a:cubicBezTo>
                  <a:cubicBezTo>
                    <a:pt x="4262" y="412"/>
                    <a:pt x="4231" y="198"/>
                    <a:pt x="4174" y="0"/>
                  </a:cubicBezTo>
                  <a:lnTo>
                    <a:pt x="89" y="0"/>
                  </a:lnTo>
                  <a:cubicBezTo>
                    <a:pt x="31" y="198"/>
                    <a:pt x="0" y="412"/>
                    <a:pt x="0" y="643"/>
                  </a:cubicBezTo>
                  <a:lnTo>
                    <a:pt x="0" y="643"/>
                  </a:lnTo>
                  <a:close/>
                </a:path>
              </a:pathLst>
            </a:custGeom>
            <a:solidFill>
              <a:srgbClr val="004BF2"/>
            </a:solidFill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00"/>
            </a:p>
          </p:txBody>
        </p:sp>
        <p:sp>
          <p:nvSpPr>
            <p:cNvPr id="10" name="Freeform 12">
              <a:extLst>
                <a:ext uri="{FF2B5EF4-FFF2-40B4-BE49-F238E27FC236}">
                  <a16:creationId xmlns:a16="http://schemas.microsoft.com/office/drawing/2014/main" id="{1A09E611-A791-1606-89C9-46CC7733DA28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390" y="4324760"/>
              <a:ext cx="1894952" cy="946631"/>
            </a:xfrm>
            <a:custGeom>
              <a:avLst/>
              <a:gdLst>
                <a:gd name="T0" fmla="*/ 0 w 2640"/>
                <a:gd name="T1" fmla="*/ 0 h 1317"/>
                <a:gd name="T2" fmla="*/ 0 w 2640"/>
                <a:gd name="T3" fmla="*/ 0 h 1317"/>
                <a:gd name="T4" fmla="*/ 127 w 2640"/>
                <a:gd name="T5" fmla="*/ 630 h 1317"/>
                <a:gd name="T6" fmla="*/ 610 w 2640"/>
                <a:gd name="T7" fmla="*/ 1317 h 1317"/>
                <a:gd name="T8" fmla="*/ 2030 w 2640"/>
                <a:gd name="T9" fmla="*/ 1317 h 1317"/>
                <a:gd name="T10" fmla="*/ 2513 w 2640"/>
                <a:gd name="T11" fmla="*/ 630 h 1317"/>
                <a:gd name="T12" fmla="*/ 2640 w 2640"/>
                <a:gd name="T13" fmla="*/ 0 h 1317"/>
                <a:gd name="T14" fmla="*/ 0 w 2640"/>
                <a:gd name="T15" fmla="*/ 0 h 1317"/>
                <a:gd name="T16" fmla="*/ 0 w 2640"/>
                <a:gd name="T17" fmla="*/ 0 h 1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40" h="1317">
                  <a:moveTo>
                    <a:pt x="0" y="0"/>
                  </a:moveTo>
                  <a:lnTo>
                    <a:pt x="0" y="0"/>
                  </a:lnTo>
                  <a:cubicBezTo>
                    <a:pt x="77" y="190"/>
                    <a:pt x="127" y="394"/>
                    <a:pt x="127" y="630"/>
                  </a:cubicBezTo>
                  <a:cubicBezTo>
                    <a:pt x="127" y="857"/>
                    <a:pt x="340" y="1317"/>
                    <a:pt x="610" y="1317"/>
                  </a:cubicBezTo>
                  <a:lnTo>
                    <a:pt x="2030" y="1317"/>
                  </a:lnTo>
                  <a:cubicBezTo>
                    <a:pt x="2300" y="1317"/>
                    <a:pt x="2513" y="857"/>
                    <a:pt x="2513" y="630"/>
                  </a:cubicBezTo>
                  <a:cubicBezTo>
                    <a:pt x="2513" y="394"/>
                    <a:pt x="2563" y="190"/>
                    <a:pt x="2640" y="0"/>
                  </a:cubicBez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57C"/>
            </a:solidFill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00"/>
            </a:p>
          </p:txBody>
        </p:sp>
        <p:sp>
          <p:nvSpPr>
            <p:cNvPr id="11" name="Freeform 14">
              <a:extLst>
                <a:ext uri="{FF2B5EF4-FFF2-40B4-BE49-F238E27FC236}">
                  <a16:creationId xmlns:a16="http://schemas.microsoft.com/office/drawing/2014/main" id="{88392AF1-D80E-27D8-8895-D3A24913D89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920" y="3342691"/>
              <a:ext cx="2895579" cy="911195"/>
            </a:xfrm>
            <a:custGeom>
              <a:avLst/>
              <a:gdLst>
                <a:gd name="T0" fmla="*/ 3379 w 4032"/>
                <a:gd name="T1" fmla="*/ 1267 h 1267"/>
                <a:gd name="T2" fmla="*/ 3379 w 4032"/>
                <a:gd name="T3" fmla="*/ 1267 h 1267"/>
                <a:gd name="T4" fmla="*/ 4032 w 4032"/>
                <a:gd name="T5" fmla="*/ 0 h 1267"/>
                <a:gd name="T6" fmla="*/ 0 w 4032"/>
                <a:gd name="T7" fmla="*/ 0 h 1267"/>
                <a:gd name="T8" fmla="*/ 653 w 4032"/>
                <a:gd name="T9" fmla="*/ 1267 h 1267"/>
                <a:gd name="T10" fmla="*/ 3379 w 4032"/>
                <a:gd name="T11" fmla="*/ 1267 h 1267"/>
                <a:gd name="T12" fmla="*/ 3379 w 4032"/>
                <a:gd name="T13" fmla="*/ 1267 h 1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32" h="1267">
                  <a:moveTo>
                    <a:pt x="3379" y="1267"/>
                  </a:moveTo>
                  <a:lnTo>
                    <a:pt x="3379" y="1267"/>
                  </a:lnTo>
                  <a:cubicBezTo>
                    <a:pt x="3568" y="854"/>
                    <a:pt x="3869" y="495"/>
                    <a:pt x="4032" y="0"/>
                  </a:cubicBezTo>
                  <a:lnTo>
                    <a:pt x="0" y="0"/>
                  </a:lnTo>
                  <a:cubicBezTo>
                    <a:pt x="163" y="495"/>
                    <a:pt x="464" y="854"/>
                    <a:pt x="653" y="1267"/>
                  </a:cubicBezTo>
                  <a:lnTo>
                    <a:pt x="3379" y="1267"/>
                  </a:lnTo>
                  <a:lnTo>
                    <a:pt x="3379" y="1267"/>
                  </a:lnTo>
                  <a:close/>
                </a:path>
              </a:pathLst>
            </a:custGeom>
            <a:solidFill>
              <a:srgbClr val="A6A6A6"/>
            </a:solidFill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00">
                <a:solidFill>
                  <a:srgbClr val="3372FF"/>
                </a:solidFill>
              </a:endParaRPr>
            </a:p>
          </p:txBody>
        </p:sp>
      </p:grpSp>
      <p:sp>
        <p:nvSpPr>
          <p:cNvPr id="12" name="Freeform 5">
            <a:extLst>
              <a:ext uri="{FF2B5EF4-FFF2-40B4-BE49-F238E27FC236}">
                <a16:creationId xmlns:a16="http://schemas.microsoft.com/office/drawing/2014/main" id="{97312541-9FDC-5683-72F5-16F1DAAD14C2}"/>
              </a:ext>
            </a:extLst>
          </p:cNvPr>
          <p:cNvSpPr>
            <a:spLocks/>
          </p:cNvSpPr>
          <p:nvPr/>
        </p:nvSpPr>
        <p:spPr bwMode="auto">
          <a:xfrm>
            <a:off x="5118322" y="1933575"/>
            <a:ext cx="1974634" cy="2562224"/>
          </a:xfrm>
          <a:custGeom>
            <a:avLst/>
            <a:gdLst>
              <a:gd name="T0" fmla="*/ 607 w 634"/>
              <a:gd name="T1" fmla="*/ 174 h 823"/>
              <a:gd name="T2" fmla="*/ 317 w 634"/>
              <a:gd name="T3" fmla="*/ 0 h 823"/>
              <a:gd name="T4" fmla="*/ 26 w 634"/>
              <a:gd name="T5" fmla="*/ 174 h 823"/>
              <a:gd name="T6" fmla="*/ 10 w 634"/>
              <a:gd name="T7" fmla="*/ 221 h 823"/>
              <a:gd name="T8" fmla="*/ 0 w 634"/>
              <a:gd name="T9" fmla="*/ 306 h 823"/>
              <a:gd name="T10" fmla="*/ 10 w 634"/>
              <a:gd name="T11" fmla="*/ 388 h 823"/>
              <a:gd name="T12" fmla="*/ 25 w 634"/>
              <a:gd name="T13" fmla="*/ 435 h 823"/>
              <a:gd name="T14" fmla="*/ 76 w 634"/>
              <a:gd name="T15" fmla="*/ 535 h 823"/>
              <a:gd name="T16" fmla="*/ 114 w 634"/>
              <a:gd name="T17" fmla="*/ 602 h 823"/>
              <a:gd name="T18" fmla="*/ 133 w 634"/>
              <a:gd name="T19" fmla="*/ 649 h 823"/>
              <a:gd name="T20" fmla="*/ 146 w 634"/>
              <a:gd name="T21" fmla="*/ 732 h 823"/>
              <a:gd name="T22" fmla="*/ 206 w 634"/>
              <a:gd name="T23" fmla="*/ 823 h 823"/>
              <a:gd name="T24" fmla="*/ 427 w 634"/>
              <a:gd name="T25" fmla="*/ 823 h 823"/>
              <a:gd name="T26" fmla="*/ 487 w 634"/>
              <a:gd name="T27" fmla="*/ 732 h 823"/>
              <a:gd name="T28" fmla="*/ 500 w 634"/>
              <a:gd name="T29" fmla="*/ 649 h 823"/>
              <a:gd name="T30" fmla="*/ 520 w 634"/>
              <a:gd name="T31" fmla="*/ 602 h 823"/>
              <a:gd name="T32" fmla="*/ 557 w 634"/>
              <a:gd name="T33" fmla="*/ 535 h 823"/>
              <a:gd name="T34" fmla="*/ 609 w 634"/>
              <a:gd name="T35" fmla="*/ 435 h 823"/>
              <a:gd name="T36" fmla="*/ 624 w 634"/>
              <a:gd name="T37" fmla="*/ 388 h 823"/>
              <a:gd name="T38" fmla="*/ 634 w 634"/>
              <a:gd name="T39" fmla="*/ 306 h 823"/>
              <a:gd name="T40" fmla="*/ 624 w 634"/>
              <a:gd name="T41" fmla="*/ 221 h 823"/>
              <a:gd name="T42" fmla="*/ 607 w 634"/>
              <a:gd name="T43" fmla="*/ 174 h 8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634" h="823">
                <a:moveTo>
                  <a:pt x="607" y="174"/>
                </a:moveTo>
                <a:cubicBezTo>
                  <a:pt x="560" y="66"/>
                  <a:pt x="451" y="0"/>
                  <a:pt x="317" y="0"/>
                </a:cubicBezTo>
                <a:cubicBezTo>
                  <a:pt x="183" y="0"/>
                  <a:pt x="74" y="66"/>
                  <a:pt x="26" y="174"/>
                </a:cubicBezTo>
                <a:cubicBezTo>
                  <a:pt x="10" y="221"/>
                  <a:pt x="10" y="221"/>
                  <a:pt x="10" y="221"/>
                </a:cubicBezTo>
                <a:cubicBezTo>
                  <a:pt x="3" y="248"/>
                  <a:pt x="0" y="276"/>
                  <a:pt x="0" y="306"/>
                </a:cubicBezTo>
                <a:cubicBezTo>
                  <a:pt x="0" y="335"/>
                  <a:pt x="3" y="361"/>
                  <a:pt x="10" y="388"/>
                </a:cubicBezTo>
                <a:cubicBezTo>
                  <a:pt x="25" y="435"/>
                  <a:pt x="25" y="435"/>
                  <a:pt x="25" y="435"/>
                </a:cubicBezTo>
                <a:cubicBezTo>
                  <a:pt x="39" y="472"/>
                  <a:pt x="58" y="504"/>
                  <a:pt x="76" y="535"/>
                </a:cubicBezTo>
                <a:cubicBezTo>
                  <a:pt x="89" y="556"/>
                  <a:pt x="103" y="579"/>
                  <a:pt x="114" y="602"/>
                </a:cubicBezTo>
                <a:cubicBezTo>
                  <a:pt x="133" y="649"/>
                  <a:pt x="133" y="649"/>
                  <a:pt x="133" y="649"/>
                </a:cubicBezTo>
                <a:cubicBezTo>
                  <a:pt x="142" y="676"/>
                  <a:pt x="146" y="704"/>
                  <a:pt x="146" y="732"/>
                </a:cubicBezTo>
                <a:cubicBezTo>
                  <a:pt x="146" y="764"/>
                  <a:pt x="177" y="823"/>
                  <a:pt x="206" y="823"/>
                </a:cubicBezTo>
                <a:cubicBezTo>
                  <a:pt x="427" y="823"/>
                  <a:pt x="427" y="823"/>
                  <a:pt x="427" y="823"/>
                </a:cubicBezTo>
                <a:cubicBezTo>
                  <a:pt x="456" y="823"/>
                  <a:pt x="487" y="764"/>
                  <a:pt x="487" y="732"/>
                </a:cubicBezTo>
                <a:cubicBezTo>
                  <a:pt x="487" y="704"/>
                  <a:pt x="491" y="676"/>
                  <a:pt x="500" y="649"/>
                </a:cubicBezTo>
                <a:cubicBezTo>
                  <a:pt x="520" y="602"/>
                  <a:pt x="520" y="602"/>
                  <a:pt x="520" y="602"/>
                </a:cubicBezTo>
                <a:cubicBezTo>
                  <a:pt x="531" y="579"/>
                  <a:pt x="544" y="556"/>
                  <a:pt x="557" y="535"/>
                </a:cubicBezTo>
                <a:cubicBezTo>
                  <a:pt x="576" y="504"/>
                  <a:pt x="595" y="472"/>
                  <a:pt x="609" y="435"/>
                </a:cubicBezTo>
                <a:cubicBezTo>
                  <a:pt x="624" y="388"/>
                  <a:pt x="624" y="388"/>
                  <a:pt x="624" y="388"/>
                </a:cubicBezTo>
                <a:cubicBezTo>
                  <a:pt x="631" y="361"/>
                  <a:pt x="634" y="334"/>
                  <a:pt x="634" y="306"/>
                </a:cubicBezTo>
                <a:cubicBezTo>
                  <a:pt x="634" y="277"/>
                  <a:pt x="630" y="248"/>
                  <a:pt x="624" y="221"/>
                </a:cubicBezTo>
                <a:lnTo>
                  <a:pt x="607" y="174"/>
                </a:lnTo>
                <a:close/>
              </a:path>
            </a:pathLst>
          </a:custGeom>
          <a:solidFill>
            <a:srgbClr val="FFFFFF"/>
          </a:solidFill>
          <a:ln w="44450">
            <a:solidFill>
              <a:srgbClr val="FFFFFF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1126">
            <a:extLst>
              <a:ext uri="{FF2B5EF4-FFF2-40B4-BE49-F238E27FC236}">
                <a16:creationId xmlns:a16="http://schemas.microsoft.com/office/drawing/2014/main" id="{99285C16-DEFA-342D-5E17-6EA28C92C276}"/>
              </a:ext>
            </a:extLst>
          </p:cNvPr>
          <p:cNvSpPr>
            <a:spLocks/>
          </p:cNvSpPr>
          <p:nvPr/>
        </p:nvSpPr>
        <p:spPr bwMode="auto">
          <a:xfrm flipH="1">
            <a:off x="7634725" y="1995472"/>
            <a:ext cx="3609538" cy="1444726"/>
          </a:xfrm>
          <a:prstGeom prst="roundRect">
            <a:avLst>
              <a:gd name="adj" fmla="val 10209"/>
            </a:avLst>
          </a:prstGeom>
          <a:solidFill>
            <a:srgbClr val="00257C"/>
          </a:solidFill>
          <a:ln w="25400">
            <a:noFill/>
          </a:ln>
        </p:spPr>
        <p:txBody>
          <a:bodyPr lIns="540000"/>
          <a:lstStyle/>
          <a:p>
            <a:r>
              <a:rPr lang="de-DE" altLang="zh-CN" sz="1300" b="1" dirty="0">
                <a:solidFill>
                  <a:srgbClr val="FFFFFF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Visualisierungen</a:t>
            </a:r>
          </a:p>
          <a:p>
            <a:endParaRPr lang="de-DE" altLang="zh-CN" sz="1300" b="1" dirty="0">
              <a:solidFill>
                <a:srgbClr val="FFFFFF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altLang="zh-CN" sz="1300" dirty="0">
                <a:solidFill>
                  <a:srgbClr val="FFFFFF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Eigenschaften und Beschaffenheit der Diagramme abwäg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altLang="zh-CN" sz="1300" dirty="0">
                <a:solidFill>
                  <a:srgbClr val="FFFFFF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Verständlich vs. aussagekräfti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altLang="zh-CN" sz="1300" dirty="0" err="1">
                <a:solidFill>
                  <a:srgbClr val="FFFFFF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Informatiotiv</a:t>
            </a:r>
            <a:r>
              <a:rPr lang="de-DE" altLang="zh-CN" sz="1300" dirty="0">
                <a:solidFill>
                  <a:srgbClr val="FFFFFF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 vs. übersichtli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300" dirty="0">
              <a:solidFill>
                <a:srgbClr val="FFFFFF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7" name="Oval 58">
            <a:extLst>
              <a:ext uri="{FF2B5EF4-FFF2-40B4-BE49-F238E27FC236}">
                <a16:creationId xmlns:a16="http://schemas.microsoft.com/office/drawing/2014/main" id="{8B4A0A96-51D6-689E-E4BD-B3279D5BAF3F}"/>
              </a:ext>
            </a:extLst>
          </p:cNvPr>
          <p:cNvSpPr/>
          <p:nvPr/>
        </p:nvSpPr>
        <p:spPr bwMode="gray">
          <a:xfrm>
            <a:off x="7253292" y="1614032"/>
            <a:ext cx="782525" cy="782525"/>
          </a:xfrm>
          <a:prstGeom prst="ellipse">
            <a:avLst/>
          </a:prstGeom>
          <a:solidFill>
            <a:srgbClr val="FFFFFF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0" name="Oval 3">
            <a:extLst>
              <a:ext uri="{FF2B5EF4-FFF2-40B4-BE49-F238E27FC236}">
                <a16:creationId xmlns:a16="http://schemas.microsoft.com/office/drawing/2014/main" id="{F52BECA9-5E29-136A-C27B-458988EC46F4}"/>
              </a:ext>
            </a:extLst>
          </p:cNvPr>
          <p:cNvSpPr/>
          <p:nvPr/>
        </p:nvSpPr>
        <p:spPr bwMode="gray">
          <a:xfrm>
            <a:off x="4145676" y="1614032"/>
            <a:ext cx="782525" cy="782525"/>
          </a:xfrm>
          <a:prstGeom prst="ellipse">
            <a:avLst/>
          </a:prstGeom>
          <a:solidFill>
            <a:srgbClr val="FFFFFF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grpSp>
        <p:nvGrpSpPr>
          <p:cNvPr id="21" name="组合 17">
            <a:extLst>
              <a:ext uri="{FF2B5EF4-FFF2-40B4-BE49-F238E27FC236}">
                <a16:creationId xmlns:a16="http://schemas.microsoft.com/office/drawing/2014/main" id="{BF84658E-DE67-B1C5-8E1E-9A6A230B932E}"/>
              </a:ext>
            </a:extLst>
          </p:cNvPr>
          <p:cNvGrpSpPr/>
          <p:nvPr/>
        </p:nvGrpSpPr>
        <p:grpSpPr>
          <a:xfrm>
            <a:off x="5694956" y="4633856"/>
            <a:ext cx="821364" cy="770694"/>
            <a:chOff x="5646772" y="5220836"/>
            <a:chExt cx="1041305" cy="977067"/>
          </a:xfrm>
          <a:solidFill>
            <a:srgbClr val="62B5E5"/>
          </a:solidFill>
        </p:grpSpPr>
        <p:sp>
          <p:nvSpPr>
            <p:cNvPr id="22" name="išľîḑe">
              <a:extLst>
                <a:ext uri="{FF2B5EF4-FFF2-40B4-BE49-F238E27FC236}">
                  <a16:creationId xmlns:a16="http://schemas.microsoft.com/office/drawing/2014/main" id="{B0CD3A82-331F-3937-D29C-2BA495C3FD8D}"/>
                </a:ext>
              </a:extLst>
            </p:cNvPr>
            <p:cNvSpPr/>
            <p:nvPr/>
          </p:nvSpPr>
          <p:spPr bwMode="auto">
            <a:xfrm>
              <a:off x="5646772" y="5220836"/>
              <a:ext cx="1034543" cy="476702"/>
            </a:xfrm>
            <a:custGeom>
              <a:avLst/>
              <a:gdLst>
                <a:gd name="T0" fmla="*/ 166 w 183"/>
                <a:gd name="T1" fmla="*/ 0 h 84"/>
                <a:gd name="T2" fmla="*/ 17 w 183"/>
                <a:gd name="T3" fmla="*/ 0 h 84"/>
                <a:gd name="T4" fmla="*/ 2 w 183"/>
                <a:gd name="T5" fmla="*/ 24 h 84"/>
                <a:gd name="T6" fmla="*/ 17 w 183"/>
                <a:gd name="T7" fmla="*/ 49 h 84"/>
                <a:gd name="T8" fmla="*/ 67 w 183"/>
                <a:gd name="T9" fmla="*/ 49 h 84"/>
                <a:gd name="T10" fmla="*/ 13 w 183"/>
                <a:gd name="T11" fmla="*/ 59 h 84"/>
                <a:gd name="T12" fmla="*/ 3 w 183"/>
                <a:gd name="T13" fmla="*/ 75 h 84"/>
                <a:gd name="T14" fmla="*/ 17 w 183"/>
                <a:gd name="T15" fmla="*/ 84 h 84"/>
                <a:gd name="T16" fmla="*/ 22 w 183"/>
                <a:gd name="T17" fmla="*/ 82 h 84"/>
                <a:gd name="T18" fmla="*/ 171 w 183"/>
                <a:gd name="T19" fmla="*/ 33 h 84"/>
                <a:gd name="T20" fmla="*/ 182 w 183"/>
                <a:gd name="T21" fmla="*/ 14 h 84"/>
                <a:gd name="T22" fmla="*/ 166 w 183"/>
                <a:gd name="T2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3" h="84">
                  <a:moveTo>
                    <a:pt x="166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9" y="0"/>
                    <a:pt x="2" y="16"/>
                    <a:pt x="2" y="24"/>
                  </a:cubicBezTo>
                  <a:cubicBezTo>
                    <a:pt x="2" y="33"/>
                    <a:pt x="9" y="49"/>
                    <a:pt x="17" y="49"/>
                  </a:cubicBezTo>
                  <a:cubicBezTo>
                    <a:pt x="67" y="49"/>
                    <a:pt x="67" y="49"/>
                    <a:pt x="67" y="49"/>
                  </a:cubicBezTo>
                  <a:cubicBezTo>
                    <a:pt x="13" y="59"/>
                    <a:pt x="13" y="59"/>
                    <a:pt x="13" y="59"/>
                  </a:cubicBezTo>
                  <a:cubicBezTo>
                    <a:pt x="4" y="62"/>
                    <a:pt x="0" y="67"/>
                    <a:pt x="3" y="75"/>
                  </a:cubicBezTo>
                  <a:cubicBezTo>
                    <a:pt x="5" y="82"/>
                    <a:pt x="11" y="84"/>
                    <a:pt x="17" y="84"/>
                  </a:cubicBezTo>
                  <a:cubicBezTo>
                    <a:pt x="19" y="84"/>
                    <a:pt x="21" y="83"/>
                    <a:pt x="22" y="82"/>
                  </a:cubicBezTo>
                  <a:cubicBezTo>
                    <a:pt x="171" y="33"/>
                    <a:pt x="171" y="33"/>
                    <a:pt x="171" y="33"/>
                  </a:cubicBezTo>
                  <a:cubicBezTo>
                    <a:pt x="178" y="31"/>
                    <a:pt x="183" y="22"/>
                    <a:pt x="182" y="14"/>
                  </a:cubicBezTo>
                  <a:cubicBezTo>
                    <a:pt x="181" y="7"/>
                    <a:pt x="174" y="0"/>
                    <a:pt x="166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23" name="i$líḓe">
              <a:extLst>
                <a:ext uri="{FF2B5EF4-FFF2-40B4-BE49-F238E27FC236}">
                  <a16:creationId xmlns:a16="http://schemas.microsoft.com/office/drawing/2014/main" id="{CB4246AC-9312-CA8F-58F2-7E0E0A7A2AAE}"/>
                </a:ext>
              </a:extLst>
            </p:cNvPr>
            <p:cNvSpPr/>
            <p:nvPr/>
          </p:nvSpPr>
          <p:spPr bwMode="auto">
            <a:xfrm>
              <a:off x="5653534" y="5494684"/>
              <a:ext cx="1034543" cy="703219"/>
            </a:xfrm>
            <a:custGeom>
              <a:avLst/>
              <a:gdLst>
                <a:gd name="T0" fmla="*/ 165 w 183"/>
                <a:gd name="T1" fmla="*/ 62 h 124"/>
                <a:gd name="T2" fmla="*/ 115 w 183"/>
                <a:gd name="T3" fmla="*/ 62 h 124"/>
                <a:gd name="T4" fmla="*/ 170 w 183"/>
                <a:gd name="T5" fmla="*/ 38 h 124"/>
                <a:gd name="T6" fmla="*/ 180 w 183"/>
                <a:gd name="T7" fmla="*/ 14 h 124"/>
                <a:gd name="T8" fmla="*/ 160 w 183"/>
                <a:gd name="T9" fmla="*/ 3 h 124"/>
                <a:gd name="T10" fmla="*/ 12 w 183"/>
                <a:gd name="T11" fmla="*/ 50 h 124"/>
                <a:gd name="T12" fmla="*/ 1 w 183"/>
                <a:gd name="T13" fmla="*/ 70 h 124"/>
                <a:gd name="T14" fmla="*/ 16 w 183"/>
                <a:gd name="T15" fmla="*/ 87 h 124"/>
                <a:gd name="T16" fmla="*/ 30 w 183"/>
                <a:gd name="T17" fmla="*/ 87 h 124"/>
                <a:gd name="T18" fmla="*/ 54 w 183"/>
                <a:gd name="T19" fmla="*/ 124 h 124"/>
                <a:gd name="T20" fmla="*/ 127 w 183"/>
                <a:gd name="T21" fmla="*/ 124 h 124"/>
                <a:gd name="T22" fmla="*/ 151 w 183"/>
                <a:gd name="T23" fmla="*/ 87 h 124"/>
                <a:gd name="T24" fmla="*/ 165 w 183"/>
                <a:gd name="T25" fmla="*/ 87 h 124"/>
                <a:gd name="T26" fmla="*/ 181 w 183"/>
                <a:gd name="T27" fmla="*/ 75 h 124"/>
                <a:gd name="T28" fmla="*/ 165 w 183"/>
                <a:gd name="T29" fmla="*/ 62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3" h="124">
                  <a:moveTo>
                    <a:pt x="165" y="62"/>
                  </a:moveTo>
                  <a:cubicBezTo>
                    <a:pt x="115" y="62"/>
                    <a:pt x="115" y="62"/>
                    <a:pt x="115" y="62"/>
                  </a:cubicBezTo>
                  <a:cubicBezTo>
                    <a:pt x="170" y="38"/>
                    <a:pt x="170" y="38"/>
                    <a:pt x="170" y="38"/>
                  </a:cubicBezTo>
                  <a:cubicBezTo>
                    <a:pt x="178" y="35"/>
                    <a:pt x="183" y="23"/>
                    <a:pt x="180" y="14"/>
                  </a:cubicBezTo>
                  <a:cubicBezTo>
                    <a:pt x="177" y="6"/>
                    <a:pt x="169" y="0"/>
                    <a:pt x="160" y="3"/>
                  </a:cubicBezTo>
                  <a:cubicBezTo>
                    <a:pt x="12" y="50"/>
                    <a:pt x="12" y="50"/>
                    <a:pt x="12" y="50"/>
                  </a:cubicBezTo>
                  <a:cubicBezTo>
                    <a:pt x="4" y="52"/>
                    <a:pt x="0" y="63"/>
                    <a:pt x="1" y="70"/>
                  </a:cubicBezTo>
                  <a:cubicBezTo>
                    <a:pt x="2" y="78"/>
                    <a:pt x="9" y="87"/>
                    <a:pt x="16" y="87"/>
                  </a:cubicBezTo>
                  <a:cubicBezTo>
                    <a:pt x="30" y="87"/>
                    <a:pt x="30" y="87"/>
                    <a:pt x="30" y="87"/>
                  </a:cubicBezTo>
                  <a:cubicBezTo>
                    <a:pt x="54" y="124"/>
                    <a:pt x="54" y="124"/>
                    <a:pt x="54" y="124"/>
                  </a:cubicBezTo>
                  <a:cubicBezTo>
                    <a:pt x="127" y="124"/>
                    <a:pt x="127" y="124"/>
                    <a:pt x="127" y="124"/>
                  </a:cubicBezTo>
                  <a:cubicBezTo>
                    <a:pt x="151" y="87"/>
                    <a:pt x="151" y="87"/>
                    <a:pt x="151" y="87"/>
                  </a:cubicBezTo>
                  <a:cubicBezTo>
                    <a:pt x="165" y="87"/>
                    <a:pt x="165" y="87"/>
                    <a:pt x="165" y="87"/>
                  </a:cubicBezTo>
                  <a:cubicBezTo>
                    <a:pt x="174" y="87"/>
                    <a:pt x="181" y="83"/>
                    <a:pt x="181" y="75"/>
                  </a:cubicBezTo>
                  <a:cubicBezTo>
                    <a:pt x="181" y="66"/>
                    <a:pt x="174" y="62"/>
                    <a:pt x="165" y="6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</p:grpSp>
      <p:sp>
        <p:nvSpPr>
          <p:cNvPr id="24" name="îšḷîďê">
            <a:extLst>
              <a:ext uri="{FF2B5EF4-FFF2-40B4-BE49-F238E27FC236}">
                <a16:creationId xmlns:a16="http://schemas.microsoft.com/office/drawing/2014/main" id="{2B846829-769E-3EE6-F458-9E512F46E9A3}"/>
              </a:ext>
            </a:extLst>
          </p:cNvPr>
          <p:cNvSpPr/>
          <p:nvPr/>
        </p:nvSpPr>
        <p:spPr bwMode="auto">
          <a:xfrm>
            <a:off x="5635025" y="3133800"/>
            <a:ext cx="941227" cy="1094054"/>
          </a:xfrm>
          <a:custGeom>
            <a:avLst/>
            <a:gdLst>
              <a:gd name="T0" fmla="*/ 13 w 232"/>
              <a:gd name="T1" fmla="*/ 38 h 269"/>
              <a:gd name="T2" fmla="*/ 4 w 232"/>
              <a:gd name="T3" fmla="*/ 37 h 269"/>
              <a:gd name="T4" fmla="*/ 3 w 232"/>
              <a:gd name="T5" fmla="*/ 46 h 269"/>
              <a:gd name="T6" fmla="*/ 6 w 232"/>
              <a:gd name="T7" fmla="*/ 51 h 269"/>
              <a:gd name="T8" fmla="*/ 77 w 232"/>
              <a:gd name="T9" fmla="*/ 265 h 269"/>
              <a:gd name="T10" fmla="*/ 83 w 232"/>
              <a:gd name="T11" fmla="*/ 269 h 269"/>
              <a:gd name="T12" fmla="*/ 85 w 232"/>
              <a:gd name="T13" fmla="*/ 269 h 269"/>
              <a:gd name="T14" fmla="*/ 89 w 232"/>
              <a:gd name="T15" fmla="*/ 260 h 269"/>
              <a:gd name="T16" fmla="*/ 24 w 232"/>
              <a:gd name="T17" fmla="*/ 63 h 269"/>
              <a:gd name="T18" fmla="*/ 76 w 232"/>
              <a:gd name="T19" fmla="*/ 69 h 269"/>
              <a:gd name="T20" fmla="*/ 85 w 232"/>
              <a:gd name="T21" fmla="*/ 64 h 269"/>
              <a:gd name="T22" fmla="*/ 113 w 232"/>
              <a:gd name="T23" fmla="*/ 73 h 269"/>
              <a:gd name="T24" fmla="*/ 145 w 232"/>
              <a:gd name="T25" fmla="*/ 62 h 269"/>
              <a:gd name="T26" fmla="*/ 161 w 232"/>
              <a:gd name="T27" fmla="*/ 68 h 269"/>
              <a:gd name="T28" fmla="*/ 210 w 232"/>
              <a:gd name="T29" fmla="*/ 65 h 269"/>
              <a:gd name="T30" fmla="*/ 146 w 232"/>
              <a:gd name="T31" fmla="*/ 260 h 269"/>
              <a:gd name="T32" fmla="*/ 150 w 232"/>
              <a:gd name="T33" fmla="*/ 269 h 269"/>
              <a:gd name="T34" fmla="*/ 152 w 232"/>
              <a:gd name="T35" fmla="*/ 269 h 269"/>
              <a:gd name="T36" fmla="*/ 158 w 232"/>
              <a:gd name="T37" fmla="*/ 265 h 269"/>
              <a:gd name="T38" fmla="*/ 228 w 232"/>
              <a:gd name="T39" fmla="*/ 50 h 269"/>
              <a:gd name="T40" fmla="*/ 230 w 232"/>
              <a:gd name="T41" fmla="*/ 48 h 269"/>
              <a:gd name="T42" fmla="*/ 229 w 232"/>
              <a:gd name="T43" fmla="*/ 39 h 269"/>
              <a:gd name="T44" fmla="*/ 220 w 232"/>
              <a:gd name="T45" fmla="*/ 40 h 269"/>
              <a:gd name="T46" fmla="*/ 165 w 232"/>
              <a:gd name="T47" fmla="*/ 55 h 269"/>
              <a:gd name="T48" fmla="*/ 154 w 232"/>
              <a:gd name="T49" fmla="*/ 52 h 269"/>
              <a:gd name="T50" fmla="*/ 160 w 232"/>
              <a:gd name="T51" fmla="*/ 31 h 269"/>
              <a:gd name="T52" fmla="*/ 146 w 232"/>
              <a:gd name="T53" fmla="*/ 3 h 269"/>
              <a:gd name="T54" fmla="*/ 132 w 232"/>
              <a:gd name="T55" fmla="*/ 3 h 269"/>
              <a:gd name="T56" fmla="*/ 123 w 232"/>
              <a:gd name="T57" fmla="*/ 32 h 269"/>
              <a:gd name="T58" fmla="*/ 134 w 232"/>
              <a:gd name="T59" fmla="*/ 54 h 269"/>
              <a:gd name="T60" fmla="*/ 95 w 232"/>
              <a:gd name="T61" fmla="*/ 55 h 269"/>
              <a:gd name="T62" fmla="*/ 103 w 232"/>
              <a:gd name="T63" fmla="*/ 32 h 269"/>
              <a:gd name="T64" fmla="*/ 92 w 232"/>
              <a:gd name="T65" fmla="*/ 4 h 269"/>
              <a:gd name="T66" fmla="*/ 77 w 232"/>
              <a:gd name="T67" fmla="*/ 4 h 269"/>
              <a:gd name="T68" fmla="*/ 66 w 232"/>
              <a:gd name="T69" fmla="*/ 32 h 269"/>
              <a:gd name="T70" fmla="*/ 75 w 232"/>
              <a:gd name="T71" fmla="*/ 55 h 269"/>
              <a:gd name="T72" fmla="*/ 72 w 232"/>
              <a:gd name="T73" fmla="*/ 56 h 269"/>
              <a:gd name="T74" fmla="*/ 13 w 232"/>
              <a:gd name="T75" fmla="*/ 38 h 269"/>
              <a:gd name="T76" fmla="*/ 140 w 232"/>
              <a:gd name="T77" fmla="*/ 14 h 269"/>
              <a:gd name="T78" fmla="*/ 140 w 232"/>
              <a:gd name="T79" fmla="*/ 14 h 269"/>
              <a:gd name="T80" fmla="*/ 140 w 232"/>
              <a:gd name="T81" fmla="*/ 14 h 269"/>
              <a:gd name="T82" fmla="*/ 147 w 232"/>
              <a:gd name="T83" fmla="*/ 32 h 269"/>
              <a:gd name="T84" fmla="*/ 143 w 232"/>
              <a:gd name="T85" fmla="*/ 45 h 269"/>
              <a:gd name="T86" fmla="*/ 136 w 232"/>
              <a:gd name="T87" fmla="*/ 31 h 269"/>
              <a:gd name="T88" fmla="*/ 140 w 232"/>
              <a:gd name="T89" fmla="*/ 14 h 269"/>
              <a:gd name="T90" fmla="*/ 84 w 232"/>
              <a:gd name="T91" fmla="*/ 15 h 269"/>
              <a:gd name="T92" fmla="*/ 84 w 232"/>
              <a:gd name="T93" fmla="*/ 15 h 269"/>
              <a:gd name="T94" fmla="*/ 85 w 232"/>
              <a:gd name="T95" fmla="*/ 16 h 269"/>
              <a:gd name="T96" fmla="*/ 89 w 232"/>
              <a:gd name="T97" fmla="*/ 31 h 269"/>
              <a:gd name="T98" fmla="*/ 85 w 232"/>
              <a:gd name="T99" fmla="*/ 47 h 269"/>
              <a:gd name="T100" fmla="*/ 79 w 232"/>
              <a:gd name="T101" fmla="*/ 31 h 269"/>
              <a:gd name="T102" fmla="*/ 84 w 232"/>
              <a:gd name="T103" fmla="*/ 15 h 2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232" h="269">
                <a:moveTo>
                  <a:pt x="13" y="38"/>
                </a:moveTo>
                <a:cubicBezTo>
                  <a:pt x="11" y="35"/>
                  <a:pt x="6" y="35"/>
                  <a:pt x="4" y="37"/>
                </a:cubicBezTo>
                <a:cubicBezTo>
                  <a:pt x="1" y="39"/>
                  <a:pt x="0" y="44"/>
                  <a:pt x="3" y="46"/>
                </a:cubicBezTo>
                <a:cubicBezTo>
                  <a:pt x="4" y="48"/>
                  <a:pt x="5" y="49"/>
                  <a:pt x="6" y="51"/>
                </a:cubicBezTo>
                <a:cubicBezTo>
                  <a:pt x="77" y="265"/>
                  <a:pt x="77" y="265"/>
                  <a:pt x="77" y="265"/>
                </a:cubicBezTo>
                <a:cubicBezTo>
                  <a:pt x="77" y="267"/>
                  <a:pt x="80" y="269"/>
                  <a:pt x="83" y="269"/>
                </a:cubicBezTo>
                <a:cubicBezTo>
                  <a:pt x="83" y="269"/>
                  <a:pt x="84" y="269"/>
                  <a:pt x="85" y="269"/>
                </a:cubicBezTo>
                <a:cubicBezTo>
                  <a:pt x="88" y="268"/>
                  <a:pt x="90" y="264"/>
                  <a:pt x="89" y="260"/>
                </a:cubicBezTo>
                <a:cubicBezTo>
                  <a:pt x="24" y="63"/>
                  <a:pt x="24" y="63"/>
                  <a:pt x="24" y="63"/>
                </a:cubicBezTo>
                <a:cubicBezTo>
                  <a:pt x="40" y="70"/>
                  <a:pt x="60" y="74"/>
                  <a:pt x="76" y="69"/>
                </a:cubicBezTo>
                <a:cubicBezTo>
                  <a:pt x="79" y="68"/>
                  <a:pt x="82" y="66"/>
                  <a:pt x="85" y="64"/>
                </a:cubicBezTo>
                <a:cubicBezTo>
                  <a:pt x="93" y="70"/>
                  <a:pt x="103" y="73"/>
                  <a:pt x="113" y="73"/>
                </a:cubicBezTo>
                <a:cubicBezTo>
                  <a:pt x="125" y="73"/>
                  <a:pt x="136" y="69"/>
                  <a:pt x="145" y="62"/>
                </a:cubicBezTo>
                <a:cubicBezTo>
                  <a:pt x="150" y="64"/>
                  <a:pt x="155" y="67"/>
                  <a:pt x="161" y="68"/>
                </a:cubicBezTo>
                <a:cubicBezTo>
                  <a:pt x="180" y="73"/>
                  <a:pt x="196" y="72"/>
                  <a:pt x="210" y="65"/>
                </a:cubicBezTo>
                <a:cubicBezTo>
                  <a:pt x="146" y="260"/>
                  <a:pt x="146" y="260"/>
                  <a:pt x="146" y="260"/>
                </a:cubicBezTo>
                <a:cubicBezTo>
                  <a:pt x="144" y="264"/>
                  <a:pt x="146" y="268"/>
                  <a:pt x="150" y="269"/>
                </a:cubicBezTo>
                <a:cubicBezTo>
                  <a:pt x="150" y="269"/>
                  <a:pt x="151" y="269"/>
                  <a:pt x="152" y="269"/>
                </a:cubicBezTo>
                <a:cubicBezTo>
                  <a:pt x="155" y="269"/>
                  <a:pt x="157" y="267"/>
                  <a:pt x="158" y="265"/>
                </a:cubicBezTo>
                <a:cubicBezTo>
                  <a:pt x="228" y="50"/>
                  <a:pt x="228" y="50"/>
                  <a:pt x="228" y="50"/>
                </a:cubicBezTo>
                <a:cubicBezTo>
                  <a:pt x="229" y="50"/>
                  <a:pt x="230" y="49"/>
                  <a:pt x="230" y="48"/>
                </a:cubicBezTo>
                <a:cubicBezTo>
                  <a:pt x="232" y="45"/>
                  <a:pt x="232" y="41"/>
                  <a:pt x="229" y="39"/>
                </a:cubicBezTo>
                <a:cubicBezTo>
                  <a:pt x="226" y="37"/>
                  <a:pt x="222" y="37"/>
                  <a:pt x="220" y="40"/>
                </a:cubicBezTo>
                <a:cubicBezTo>
                  <a:pt x="207" y="56"/>
                  <a:pt x="189" y="62"/>
                  <a:pt x="165" y="55"/>
                </a:cubicBezTo>
                <a:cubicBezTo>
                  <a:pt x="162" y="55"/>
                  <a:pt x="158" y="54"/>
                  <a:pt x="154" y="52"/>
                </a:cubicBezTo>
                <a:cubicBezTo>
                  <a:pt x="158" y="46"/>
                  <a:pt x="160" y="38"/>
                  <a:pt x="160" y="31"/>
                </a:cubicBezTo>
                <a:cubicBezTo>
                  <a:pt x="159" y="17"/>
                  <a:pt x="154" y="7"/>
                  <a:pt x="146" y="3"/>
                </a:cubicBezTo>
                <a:cubicBezTo>
                  <a:pt x="142" y="0"/>
                  <a:pt x="137" y="0"/>
                  <a:pt x="132" y="3"/>
                </a:cubicBezTo>
                <a:cubicBezTo>
                  <a:pt x="125" y="8"/>
                  <a:pt x="122" y="18"/>
                  <a:pt x="123" y="32"/>
                </a:cubicBezTo>
                <a:cubicBezTo>
                  <a:pt x="124" y="40"/>
                  <a:pt x="127" y="48"/>
                  <a:pt x="134" y="54"/>
                </a:cubicBezTo>
                <a:cubicBezTo>
                  <a:pt x="123" y="61"/>
                  <a:pt x="107" y="61"/>
                  <a:pt x="95" y="55"/>
                </a:cubicBezTo>
                <a:cubicBezTo>
                  <a:pt x="99" y="49"/>
                  <a:pt x="102" y="41"/>
                  <a:pt x="103" y="32"/>
                </a:cubicBezTo>
                <a:cubicBezTo>
                  <a:pt x="103" y="19"/>
                  <a:pt x="99" y="9"/>
                  <a:pt x="92" y="4"/>
                </a:cubicBezTo>
                <a:cubicBezTo>
                  <a:pt x="87" y="1"/>
                  <a:pt x="82" y="1"/>
                  <a:pt x="77" y="4"/>
                </a:cubicBezTo>
                <a:cubicBezTo>
                  <a:pt x="70" y="8"/>
                  <a:pt x="65" y="18"/>
                  <a:pt x="66" y="32"/>
                </a:cubicBezTo>
                <a:cubicBezTo>
                  <a:pt x="66" y="40"/>
                  <a:pt x="69" y="48"/>
                  <a:pt x="75" y="55"/>
                </a:cubicBezTo>
                <a:cubicBezTo>
                  <a:pt x="74" y="56"/>
                  <a:pt x="73" y="56"/>
                  <a:pt x="72" y="56"/>
                </a:cubicBezTo>
                <a:cubicBezTo>
                  <a:pt x="52" y="63"/>
                  <a:pt x="23" y="52"/>
                  <a:pt x="13" y="38"/>
                </a:cubicBezTo>
                <a:close/>
                <a:moveTo>
                  <a:pt x="140" y="14"/>
                </a:moveTo>
                <a:cubicBezTo>
                  <a:pt x="140" y="14"/>
                  <a:pt x="140" y="14"/>
                  <a:pt x="140" y="14"/>
                </a:cubicBezTo>
                <a:cubicBezTo>
                  <a:pt x="140" y="14"/>
                  <a:pt x="140" y="14"/>
                  <a:pt x="140" y="14"/>
                </a:cubicBezTo>
                <a:cubicBezTo>
                  <a:pt x="142" y="15"/>
                  <a:pt x="146" y="20"/>
                  <a:pt x="147" y="32"/>
                </a:cubicBezTo>
                <a:cubicBezTo>
                  <a:pt x="147" y="36"/>
                  <a:pt x="145" y="41"/>
                  <a:pt x="143" y="45"/>
                </a:cubicBezTo>
                <a:cubicBezTo>
                  <a:pt x="139" y="41"/>
                  <a:pt x="137" y="37"/>
                  <a:pt x="136" y="31"/>
                </a:cubicBezTo>
                <a:cubicBezTo>
                  <a:pt x="135" y="21"/>
                  <a:pt x="138" y="15"/>
                  <a:pt x="140" y="14"/>
                </a:cubicBezTo>
                <a:close/>
                <a:moveTo>
                  <a:pt x="84" y="15"/>
                </a:moveTo>
                <a:cubicBezTo>
                  <a:pt x="84" y="15"/>
                  <a:pt x="84" y="15"/>
                  <a:pt x="84" y="15"/>
                </a:cubicBezTo>
                <a:cubicBezTo>
                  <a:pt x="84" y="15"/>
                  <a:pt x="85" y="15"/>
                  <a:pt x="85" y="16"/>
                </a:cubicBezTo>
                <a:cubicBezTo>
                  <a:pt x="87" y="17"/>
                  <a:pt x="90" y="21"/>
                  <a:pt x="89" y="31"/>
                </a:cubicBezTo>
                <a:cubicBezTo>
                  <a:pt x="89" y="37"/>
                  <a:pt x="88" y="43"/>
                  <a:pt x="85" y="47"/>
                </a:cubicBezTo>
                <a:cubicBezTo>
                  <a:pt x="81" y="42"/>
                  <a:pt x="79" y="37"/>
                  <a:pt x="79" y="31"/>
                </a:cubicBezTo>
                <a:cubicBezTo>
                  <a:pt x="79" y="21"/>
                  <a:pt x="82" y="16"/>
                  <a:pt x="84" y="15"/>
                </a:cubicBezTo>
                <a:close/>
              </a:path>
            </a:pathLst>
          </a:custGeom>
          <a:solidFill>
            <a:srgbClr val="A6A6A6"/>
          </a:solidFill>
          <a:ln>
            <a:noFill/>
          </a:ln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3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sp>
        <p:nvSpPr>
          <p:cNvPr id="25" name="矩形 22">
            <a:extLst>
              <a:ext uri="{FF2B5EF4-FFF2-40B4-BE49-F238E27FC236}">
                <a16:creationId xmlns:a16="http://schemas.microsoft.com/office/drawing/2014/main" id="{CCC66C90-1246-C78C-97C0-247572B6BB70}"/>
              </a:ext>
            </a:extLst>
          </p:cNvPr>
          <p:cNvSpPr/>
          <p:nvPr/>
        </p:nvSpPr>
        <p:spPr>
          <a:xfrm>
            <a:off x="5044157" y="2290207"/>
            <a:ext cx="211724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da-DK" altLang="zh-CN" sz="1600" b="1" kern="0" dirty="0">
                <a:solidFill>
                  <a:srgbClr val="FFC62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Challenges / Herausforderungen</a:t>
            </a:r>
            <a:endParaRPr lang="zh-CN" altLang="en-US" sz="1600" b="1" kern="0" dirty="0">
              <a:solidFill>
                <a:srgbClr val="FFC620"/>
              </a:solidFill>
              <a:ea typeface="微软雅黑"/>
              <a:cs typeface="Verdana" panose="020B0604030504040204" pitchFamily="34" charset="0"/>
            </a:endParaRPr>
          </a:p>
        </p:txBody>
      </p:sp>
      <p:grpSp>
        <p:nvGrpSpPr>
          <p:cNvPr id="26" name="组合 127">
            <a:extLst>
              <a:ext uri="{FF2B5EF4-FFF2-40B4-BE49-F238E27FC236}">
                <a16:creationId xmlns:a16="http://schemas.microsoft.com/office/drawing/2014/main" id="{6710491B-1B16-4778-3ABE-DE5017689D2D}"/>
              </a:ext>
            </a:extLst>
          </p:cNvPr>
          <p:cNvGrpSpPr/>
          <p:nvPr/>
        </p:nvGrpSpPr>
        <p:grpSpPr>
          <a:xfrm rot="1004401">
            <a:off x="4962289" y="2069742"/>
            <a:ext cx="175832" cy="153406"/>
            <a:chOff x="4659459" y="2145375"/>
            <a:chExt cx="222916" cy="194484"/>
          </a:xfrm>
          <a:solidFill>
            <a:srgbClr val="53565A"/>
          </a:solidFill>
        </p:grpSpPr>
        <p:sp>
          <p:nvSpPr>
            <p:cNvPr id="27" name="燕尾形 124">
              <a:extLst>
                <a:ext uri="{FF2B5EF4-FFF2-40B4-BE49-F238E27FC236}">
                  <a16:creationId xmlns:a16="http://schemas.microsoft.com/office/drawing/2014/main" id="{CFCE8FD5-7069-E15C-1914-D4D197F0C230}"/>
                </a:ext>
              </a:extLst>
            </p:cNvPr>
            <p:cNvSpPr/>
            <p:nvPr/>
          </p:nvSpPr>
          <p:spPr bwMode="gray">
            <a:xfrm flipH="1">
              <a:off x="4659459" y="2151481"/>
              <a:ext cx="105716" cy="188378"/>
            </a:xfrm>
            <a:prstGeom prst="chevron">
              <a:avLst/>
            </a:prstGeom>
            <a:grpFill/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buFont typeface="Wingdings 2" pitchFamily="18" charset="2"/>
                <a:buNone/>
              </a:pPr>
              <a:endParaRPr lang="en-US" sz="1300" b="1" dirty="0">
                <a:solidFill>
                  <a:schemeClr val="bg1"/>
                </a:solidFill>
              </a:endParaRPr>
            </a:p>
          </p:txBody>
        </p:sp>
        <p:sp>
          <p:nvSpPr>
            <p:cNvPr id="28" name="燕尾形 126">
              <a:extLst>
                <a:ext uri="{FF2B5EF4-FFF2-40B4-BE49-F238E27FC236}">
                  <a16:creationId xmlns:a16="http://schemas.microsoft.com/office/drawing/2014/main" id="{2F1D601B-DAA0-6C4B-E476-CC40222B184E}"/>
                </a:ext>
              </a:extLst>
            </p:cNvPr>
            <p:cNvSpPr/>
            <p:nvPr/>
          </p:nvSpPr>
          <p:spPr bwMode="gray">
            <a:xfrm flipH="1">
              <a:off x="4776659" y="2145375"/>
              <a:ext cx="105716" cy="188378"/>
            </a:xfrm>
            <a:prstGeom prst="chevron">
              <a:avLst/>
            </a:prstGeom>
            <a:solidFill>
              <a:srgbClr val="75787B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buFont typeface="Wingdings 2" pitchFamily="18" charset="2"/>
                <a:buNone/>
              </a:pPr>
              <a:endParaRPr lang="en-US" sz="13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2" name="组合 131">
            <a:extLst>
              <a:ext uri="{FF2B5EF4-FFF2-40B4-BE49-F238E27FC236}">
                <a16:creationId xmlns:a16="http://schemas.microsoft.com/office/drawing/2014/main" id="{2361A4F1-3709-8833-A33E-8A6AE8A44F1D}"/>
              </a:ext>
            </a:extLst>
          </p:cNvPr>
          <p:cNvGrpSpPr/>
          <p:nvPr/>
        </p:nvGrpSpPr>
        <p:grpSpPr>
          <a:xfrm rot="20140079" flipH="1">
            <a:off x="7051861" y="2076150"/>
            <a:ext cx="176056" cy="125027"/>
            <a:chOff x="4659459" y="2145375"/>
            <a:chExt cx="222916" cy="194484"/>
          </a:xfrm>
          <a:solidFill>
            <a:srgbClr val="53565A"/>
          </a:solidFill>
        </p:grpSpPr>
        <p:sp>
          <p:nvSpPr>
            <p:cNvPr id="33" name="燕尾形 132">
              <a:extLst>
                <a:ext uri="{FF2B5EF4-FFF2-40B4-BE49-F238E27FC236}">
                  <a16:creationId xmlns:a16="http://schemas.microsoft.com/office/drawing/2014/main" id="{711375D7-1AD4-9427-0815-C2B2EC0426B0}"/>
                </a:ext>
              </a:extLst>
            </p:cNvPr>
            <p:cNvSpPr/>
            <p:nvPr/>
          </p:nvSpPr>
          <p:spPr bwMode="gray">
            <a:xfrm flipH="1">
              <a:off x="4659459" y="2151481"/>
              <a:ext cx="105716" cy="188378"/>
            </a:xfrm>
            <a:prstGeom prst="chevron">
              <a:avLst/>
            </a:prstGeom>
            <a:grpFill/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buFont typeface="Wingdings 2" pitchFamily="18" charset="2"/>
                <a:buNone/>
              </a:pPr>
              <a:endParaRPr lang="en-US" sz="1300" b="1" dirty="0">
                <a:solidFill>
                  <a:schemeClr val="bg1"/>
                </a:solidFill>
              </a:endParaRPr>
            </a:p>
          </p:txBody>
        </p:sp>
        <p:sp>
          <p:nvSpPr>
            <p:cNvPr id="34" name="燕尾形 133">
              <a:extLst>
                <a:ext uri="{FF2B5EF4-FFF2-40B4-BE49-F238E27FC236}">
                  <a16:creationId xmlns:a16="http://schemas.microsoft.com/office/drawing/2014/main" id="{55225EF6-7CF4-7C99-553A-8F440A749C0A}"/>
                </a:ext>
              </a:extLst>
            </p:cNvPr>
            <p:cNvSpPr/>
            <p:nvPr/>
          </p:nvSpPr>
          <p:spPr bwMode="gray">
            <a:xfrm flipH="1">
              <a:off x="4776659" y="2145375"/>
              <a:ext cx="105716" cy="188378"/>
            </a:xfrm>
            <a:prstGeom prst="chevron">
              <a:avLst/>
            </a:prstGeom>
            <a:solidFill>
              <a:srgbClr val="75787B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buFont typeface="Wingdings 2" pitchFamily="18" charset="2"/>
                <a:buNone/>
              </a:pPr>
              <a:endParaRPr lang="en-US" sz="13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45" name="Freeform 113">
            <a:extLst>
              <a:ext uri="{FF2B5EF4-FFF2-40B4-BE49-F238E27FC236}">
                <a16:creationId xmlns:a16="http://schemas.microsoft.com/office/drawing/2014/main" id="{EA7288A4-EF12-BC65-9184-C9D49BB5E6B3}"/>
              </a:ext>
            </a:extLst>
          </p:cNvPr>
          <p:cNvSpPr>
            <a:spLocks noEditPoints="1"/>
          </p:cNvSpPr>
          <p:nvPr/>
        </p:nvSpPr>
        <p:spPr bwMode="auto">
          <a:xfrm>
            <a:off x="7317998" y="1678738"/>
            <a:ext cx="653113" cy="653113"/>
          </a:xfrm>
          <a:custGeom>
            <a:avLst/>
            <a:gdLst>
              <a:gd name="T0" fmla="*/ 256 w 512"/>
              <a:gd name="T1" fmla="*/ 22 h 512"/>
              <a:gd name="T2" fmla="*/ 491 w 512"/>
              <a:gd name="T3" fmla="*/ 256 h 512"/>
              <a:gd name="T4" fmla="*/ 256 w 512"/>
              <a:gd name="T5" fmla="*/ 491 h 512"/>
              <a:gd name="T6" fmla="*/ 21 w 512"/>
              <a:gd name="T7" fmla="*/ 256 h 512"/>
              <a:gd name="T8" fmla="*/ 256 w 512"/>
              <a:gd name="T9" fmla="*/ 22 h 512"/>
              <a:gd name="T10" fmla="*/ 256 w 512"/>
              <a:gd name="T11" fmla="*/ 0 h 512"/>
              <a:gd name="T12" fmla="*/ 0 w 512"/>
              <a:gd name="T13" fmla="*/ 256 h 512"/>
              <a:gd name="T14" fmla="*/ 256 w 512"/>
              <a:gd name="T15" fmla="*/ 512 h 512"/>
              <a:gd name="T16" fmla="*/ 512 w 512"/>
              <a:gd name="T17" fmla="*/ 256 h 512"/>
              <a:gd name="T18" fmla="*/ 256 w 512"/>
              <a:gd name="T19" fmla="*/ 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512" h="512">
                <a:moveTo>
                  <a:pt x="256" y="22"/>
                </a:moveTo>
                <a:cubicBezTo>
                  <a:pt x="385" y="22"/>
                  <a:pt x="491" y="127"/>
                  <a:pt x="491" y="256"/>
                </a:cubicBezTo>
                <a:cubicBezTo>
                  <a:pt x="491" y="386"/>
                  <a:pt x="385" y="491"/>
                  <a:pt x="256" y="491"/>
                </a:cubicBezTo>
                <a:cubicBezTo>
                  <a:pt x="127" y="491"/>
                  <a:pt x="21" y="386"/>
                  <a:pt x="21" y="256"/>
                </a:cubicBezTo>
                <a:cubicBezTo>
                  <a:pt x="21" y="127"/>
                  <a:pt x="127" y="22"/>
                  <a:pt x="256" y="22"/>
                </a:cubicBezTo>
                <a:moveTo>
                  <a:pt x="256" y="0"/>
                </a:moveTo>
                <a:cubicBezTo>
                  <a:pt x="115" y="0"/>
                  <a:pt x="0" y="115"/>
                  <a:pt x="0" y="256"/>
                </a:cubicBezTo>
                <a:cubicBezTo>
                  <a:pt x="0" y="398"/>
                  <a:pt x="115" y="512"/>
                  <a:pt x="256" y="512"/>
                </a:cubicBezTo>
                <a:cubicBezTo>
                  <a:pt x="397" y="512"/>
                  <a:pt x="512" y="398"/>
                  <a:pt x="512" y="256"/>
                </a:cubicBezTo>
                <a:cubicBezTo>
                  <a:pt x="512" y="115"/>
                  <a:pt x="397" y="0"/>
                  <a:pt x="256" y="0"/>
                </a:cubicBezTo>
                <a:close/>
              </a:path>
            </a:pathLst>
          </a:custGeom>
          <a:solidFill>
            <a:srgbClr val="00257C"/>
          </a:solidFill>
          <a:ln>
            <a:noFill/>
          </a:ln>
          <a:extLst>
            <a:ext uri="{91240B29-F687-4f45-9708-019B960494DF}">
              <a14:hiddenLine xmlns="" xmlns:a16="http://schemas.microsoft.com/office/drawing/2014/main" xmlns:p14="http://schemas.microsoft.com/office/powerpoint/2010/main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300" dirty="0">
              <a:latin typeface="华文细黑" panose="02010600040101010101" pitchFamily="2" charset="-122"/>
              <a:ea typeface="华文细黑" panose="02010600040101010101" pitchFamily="2" charset="-122"/>
            </a:endParaRPr>
          </a:p>
        </p:txBody>
      </p:sp>
      <p:sp>
        <p:nvSpPr>
          <p:cNvPr id="48" name="Freeform 527">
            <a:extLst>
              <a:ext uri="{FF2B5EF4-FFF2-40B4-BE49-F238E27FC236}">
                <a16:creationId xmlns:a16="http://schemas.microsoft.com/office/drawing/2014/main" id="{31EE0060-BDC5-4E23-FCA8-9BD69E313087}"/>
              </a:ext>
            </a:extLst>
          </p:cNvPr>
          <p:cNvSpPr>
            <a:spLocks noEditPoints="1"/>
          </p:cNvSpPr>
          <p:nvPr/>
        </p:nvSpPr>
        <p:spPr bwMode="auto">
          <a:xfrm>
            <a:off x="4210382" y="1678738"/>
            <a:ext cx="653113" cy="653113"/>
          </a:xfrm>
          <a:custGeom>
            <a:avLst/>
            <a:gdLst>
              <a:gd name="T0" fmla="*/ 256 w 512"/>
              <a:gd name="T1" fmla="*/ 21 h 512"/>
              <a:gd name="T2" fmla="*/ 490 w 512"/>
              <a:gd name="T3" fmla="*/ 256 h 512"/>
              <a:gd name="T4" fmla="*/ 256 w 512"/>
              <a:gd name="T5" fmla="*/ 490 h 512"/>
              <a:gd name="T6" fmla="*/ 21 w 512"/>
              <a:gd name="T7" fmla="*/ 256 h 512"/>
              <a:gd name="T8" fmla="*/ 256 w 512"/>
              <a:gd name="T9" fmla="*/ 21 h 512"/>
              <a:gd name="T10" fmla="*/ 256 w 512"/>
              <a:gd name="T11" fmla="*/ 0 h 512"/>
              <a:gd name="T12" fmla="*/ 0 w 512"/>
              <a:gd name="T13" fmla="*/ 256 h 512"/>
              <a:gd name="T14" fmla="*/ 256 w 512"/>
              <a:gd name="T15" fmla="*/ 512 h 512"/>
              <a:gd name="T16" fmla="*/ 512 w 512"/>
              <a:gd name="T17" fmla="*/ 256 h 512"/>
              <a:gd name="T18" fmla="*/ 256 w 512"/>
              <a:gd name="T19" fmla="*/ 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512" h="512">
                <a:moveTo>
                  <a:pt x="256" y="21"/>
                </a:moveTo>
                <a:cubicBezTo>
                  <a:pt x="385" y="21"/>
                  <a:pt x="490" y="126"/>
                  <a:pt x="490" y="256"/>
                </a:cubicBezTo>
                <a:cubicBezTo>
                  <a:pt x="490" y="385"/>
                  <a:pt x="385" y="490"/>
                  <a:pt x="256" y="490"/>
                </a:cubicBezTo>
                <a:cubicBezTo>
                  <a:pt x="126" y="490"/>
                  <a:pt x="21" y="385"/>
                  <a:pt x="21" y="256"/>
                </a:cubicBezTo>
                <a:cubicBezTo>
                  <a:pt x="21" y="126"/>
                  <a:pt x="126" y="21"/>
                  <a:pt x="256" y="21"/>
                </a:cubicBezTo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6="http://schemas.microsoft.com/office/drawing/2014/main" xmlns:p14="http://schemas.microsoft.com/office/powerpoint/2010/main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300">
              <a:latin typeface="华文细黑" panose="02010600040101010101" pitchFamily="2" charset="-122"/>
              <a:ea typeface="华文细黑" panose="02010600040101010101" pitchFamily="2" charset="-122"/>
            </a:endParaRPr>
          </a:p>
        </p:txBody>
      </p:sp>
      <p:sp>
        <p:nvSpPr>
          <p:cNvPr id="52" name="Rectangle 3">
            <a:extLst>
              <a:ext uri="{FF2B5EF4-FFF2-40B4-BE49-F238E27FC236}">
                <a16:creationId xmlns:a16="http://schemas.microsoft.com/office/drawing/2014/main" id="{7DD4EACB-F618-0CF1-E263-19417868FFE5}"/>
              </a:ext>
            </a:extLst>
          </p:cNvPr>
          <p:cNvSpPr/>
          <p:nvPr/>
        </p:nvSpPr>
        <p:spPr>
          <a:xfrm>
            <a:off x="12582034" y="3806170"/>
            <a:ext cx="939801" cy="1139109"/>
          </a:xfrm>
          <a:prstGeom prst="round2SameRect">
            <a:avLst/>
          </a:prstGeom>
          <a:solidFill>
            <a:schemeClr val="bg1">
              <a:lumMod val="6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0" name="Datumsplatzhalter 3">
            <a:extLst>
              <a:ext uri="{FF2B5EF4-FFF2-40B4-BE49-F238E27FC236}">
                <a16:creationId xmlns:a16="http://schemas.microsoft.com/office/drawing/2014/main" id="{508B5F6B-E12A-1069-A94E-53A748D9BB1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/>
          <a:lstStyle/>
          <a:p>
            <a:r>
              <a:rPr lang="de-DE" dirty="0"/>
              <a:t>Freitag, 23. Juni 2025</a:t>
            </a:r>
          </a:p>
        </p:txBody>
      </p:sp>
      <p:pic>
        <p:nvPicPr>
          <p:cNvPr id="56" name="Grafik 55" descr="Netzwerk Silhouette">
            <a:extLst>
              <a:ext uri="{FF2B5EF4-FFF2-40B4-BE49-F238E27FC236}">
                <a16:creationId xmlns:a16="http://schemas.microsoft.com/office/drawing/2014/main" id="{49FE8E96-7BD6-05AA-584E-C3DC730A256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284938" y="1753294"/>
            <a:ext cx="504000" cy="504000"/>
          </a:xfrm>
          <a:prstGeom prst="rect">
            <a:avLst/>
          </a:prstGeom>
        </p:spPr>
      </p:pic>
      <p:pic>
        <p:nvPicPr>
          <p:cNvPr id="58" name="Grafik 57" descr="Auge Silhouette">
            <a:extLst>
              <a:ext uri="{FF2B5EF4-FFF2-40B4-BE49-F238E27FC236}">
                <a16:creationId xmlns:a16="http://schemas.microsoft.com/office/drawing/2014/main" id="{86832B2F-0171-BFCE-83DC-5F900C7445C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392554" y="1753294"/>
            <a:ext cx="504000" cy="50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556072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2642D1-E314-C5C7-EBB7-C890CA2CEF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7F5694-94F9-B3BC-0129-A2E8C9EFE3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3025"/>
            <a:ext cx="10515600" cy="1325563"/>
          </a:xfrm>
        </p:spPr>
        <p:txBody>
          <a:bodyPr/>
          <a:lstStyle/>
          <a:p>
            <a:r>
              <a:rPr lang="de-DE" cap="small" dirty="0"/>
              <a:t>Ausblick für den weiteren Projektverlauf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61288A8-EC32-755F-A8F9-AE6EEFC146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jektrealisierung | ResearchGrid EU (Gruppe 4) | ID: 004-RG-EU-2025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619E9B1-B021-38AB-32D2-BC4B6BC9D0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dirty="0"/>
              <a:t>5</a:t>
            </a:r>
          </a:p>
        </p:txBody>
      </p:sp>
      <p:grpSp>
        <p:nvGrpSpPr>
          <p:cNvPr id="7" name="Group 8">
            <a:extLst>
              <a:ext uri="{FF2B5EF4-FFF2-40B4-BE49-F238E27FC236}">
                <a16:creationId xmlns:a16="http://schemas.microsoft.com/office/drawing/2014/main" id="{0B22F241-2A0B-C8FB-57D5-0C39054B89FA}"/>
              </a:ext>
            </a:extLst>
          </p:cNvPr>
          <p:cNvGrpSpPr>
            <a:grpSpLocks/>
          </p:cNvGrpSpPr>
          <p:nvPr/>
        </p:nvGrpSpPr>
        <p:grpSpPr bwMode="auto">
          <a:xfrm>
            <a:off x="4764088" y="1714500"/>
            <a:ext cx="2667000" cy="4070350"/>
            <a:chOff x="0" y="0"/>
            <a:chExt cx="3019425" cy="4606802"/>
          </a:xfrm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8251BC3B-F306-3A04-8F53-709B62B7F705}"/>
                </a:ext>
              </a:extLst>
            </p:cNvPr>
            <p:cNvSpPr>
              <a:spLocks/>
            </p:cNvSpPr>
            <p:nvPr/>
          </p:nvSpPr>
          <p:spPr bwMode="auto">
            <a:xfrm>
              <a:off x="972326" y="2008738"/>
              <a:ext cx="1737967" cy="1094206"/>
            </a:xfrm>
            <a:custGeom>
              <a:avLst/>
              <a:gdLst>
                <a:gd name="T0" fmla="*/ 2147483647 w 2687"/>
                <a:gd name="T1" fmla="*/ 0 h 1694"/>
                <a:gd name="T2" fmla="*/ 2147483647 w 2687"/>
                <a:gd name="T3" fmla="*/ 2147483647 h 1694"/>
                <a:gd name="T4" fmla="*/ 2147483647 w 2687"/>
                <a:gd name="T5" fmla="*/ 2147483647 h 1694"/>
                <a:gd name="T6" fmla="*/ 2147483647 w 2687"/>
                <a:gd name="T7" fmla="*/ 2147483647 h 1694"/>
                <a:gd name="T8" fmla="*/ 2147483647 w 2687"/>
                <a:gd name="T9" fmla="*/ 2147483647 h 1694"/>
                <a:gd name="T10" fmla="*/ 2147483647 w 2687"/>
                <a:gd name="T11" fmla="*/ 0 h 1694"/>
                <a:gd name="T12" fmla="*/ 2147483647 w 2687"/>
                <a:gd name="T13" fmla="*/ 0 h 169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687" h="1694">
                  <a:moveTo>
                    <a:pt x="588" y="0"/>
                  </a:moveTo>
                  <a:cubicBezTo>
                    <a:pt x="293" y="436"/>
                    <a:pt x="0" y="741"/>
                    <a:pt x="4" y="1380"/>
                  </a:cubicBezTo>
                  <a:cubicBezTo>
                    <a:pt x="5" y="1455"/>
                    <a:pt x="6" y="1685"/>
                    <a:pt x="7" y="1694"/>
                  </a:cubicBezTo>
                  <a:cubicBezTo>
                    <a:pt x="1352" y="1694"/>
                    <a:pt x="1352" y="1694"/>
                    <a:pt x="1352" y="1694"/>
                  </a:cubicBezTo>
                  <a:cubicBezTo>
                    <a:pt x="1354" y="1687"/>
                    <a:pt x="1340" y="1535"/>
                    <a:pt x="1370" y="1386"/>
                  </a:cubicBezTo>
                  <a:cubicBezTo>
                    <a:pt x="1475" y="854"/>
                    <a:pt x="2200" y="559"/>
                    <a:pt x="2687" y="0"/>
                  </a:cubicBezTo>
                  <a:lnTo>
                    <a:pt x="588" y="0"/>
                  </a:ln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endParaRPr lang="en-US"/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CBD87D8A-6C62-E241-B07C-EF67A815DB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3349" y="731267"/>
              <a:ext cx="1666076" cy="1688921"/>
            </a:xfrm>
            <a:custGeom>
              <a:avLst/>
              <a:gdLst>
                <a:gd name="T0" fmla="*/ 2147483647 w 2577"/>
                <a:gd name="T1" fmla="*/ 2147483647 h 2611"/>
                <a:gd name="T2" fmla="*/ 2147483647 w 2577"/>
                <a:gd name="T3" fmla="*/ 0 h 2611"/>
                <a:gd name="T4" fmla="*/ 2147483647 w 2577"/>
                <a:gd name="T5" fmla="*/ 2147483647 h 2611"/>
                <a:gd name="T6" fmla="*/ 2147483647 w 2577"/>
                <a:gd name="T7" fmla="*/ 2147483647 h 2611"/>
                <a:gd name="T8" fmla="*/ 0 w 2577"/>
                <a:gd name="T9" fmla="*/ 2147483647 h 2611"/>
                <a:gd name="T10" fmla="*/ 2147483647 w 2577"/>
                <a:gd name="T11" fmla="*/ 2147483647 h 2611"/>
                <a:gd name="T12" fmla="*/ 2147483647 w 2577"/>
                <a:gd name="T13" fmla="*/ 2147483647 h 2611"/>
                <a:gd name="T14" fmla="*/ 2147483647 w 2577"/>
                <a:gd name="T15" fmla="*/ 2147483647 h 2611"/>
                <a:gd name="T16" fmla="*/ 2147483647 w 2577"/>
                <a:gd name="T17" fmla="*/ 2147483647 h 2611"/>
                <a:gd name="T18" fmla="*/ 2147483647 w 2577"/>
                <a:gd name="T19" fmla="*/ 2147483647 h 2611"/>
                <a:gd name="T20" fmla="*/ 2147483647 w 2577"/>
                <a:gd name="T21" fmla="*/ 2147483647 h 2611"/>
                <a:gd name="T22" fmla="*/ 2147483647 w 2577"/>
                <a:gd name="T23" fmla="*/ 2147483647 h 2611"/>
                <a:gd name="T24" fmla="*/ 2147483647 w 2577"/>
                <a:gd name="T25" fmla="*/ 2147483647 h 2611"/>
                <a:gd name="T26" fmla="*/ 2147483647 w 2577"/>
                <a:gd name="T27" fmla="*/ 2147483647 h 2611"/>
                <a:gd name="T28" fmla="*/ 2147483647 w 2577"/>
                <a:gd name="T29" fmla="*/ 2147483647 h 261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577" h="2611">
                  <a:moveTo>
                    <a:pt x="2577" y="820"/>
                  </a:moveTo>
                  <a:cubicBezTo>
                    <a:pt x="2577" y="511"/>
                    <a:pt x="2519" y="238"/>
                    <a:pt x="2410" y="0"/>
                  </a:cubicBezTo>
                  <a:cubicBezTo>
                    <a:pt x="381" y="810"/>
                    <a:pt x="381" y="810"/>
                    <a:pt x="381" y="810"/>
                  </a:cubicBezTo>
                  <a:cubicBezTo>
                    <a:pt x="391" y="853"/>
                    <a:pt x="396" y="898"/>
                    <a:pt x="396" y="947"/>
                  </a:cubicBezTo>
                  <a:cubicBezTo>
                    <a:pt x="396" y="1339"/>
                    <a:pt x="210" y="1663"/>
                    <a:pt x="0" y="1974"/>
                  </a:cubicBezTo>
                  <a:cubicBezTo>
                    <a:pt x="433" y="1975"/>
                    <a:pt x="433" y="1975"/>
                    <a:pt x="433" y="1975"/>
                  </a:cubicBezTo>
                  <a:cubicBezTo>
                    <a:pt x="736" y="1975"/>
                    <a:pt x="687" y="2193"/>
                    <a:pt x="626" y="2254"/>
                  </a:cubicBezTo>
                  <a:cubicBezTo>
                    <a:pt x="626" y="2254"/>
                    <a:pt x="626" y="2254"/>
                    <a:pt x="626" y="2254"/>
                  </a:cubicBezTo>
                  <a:cubicBezTo>
                    <a:pt x="587" y="2294"/>
                    <a:pt x="563" y="2345"/>
                    <a:pt x="565" y="2401"/>
                  </a:cubicBezTo>
                  <a:cubicBezTo>
                    <a:pt x="568" y="2519"/>
                    <a:pt x="681" y="2611"/>
                    <a:pt x="817" y="2607"/>
                  </a:cubicBezTo>
                  <a:cubicBezTo>
                    <a:pt x="952" y="2603"/>
                    <a:pt x="1059" y="2504"/>
                    <a:pt x="1056" y="2386"/>
                  </a:cubicBezTo>
                  <a:cubicBezTo>
                    <a:pt x="1054" y="2329"/>
                    <a:pt x="1026" y="2278"/>
                    <a:pt x="983" y="2241"/>
                  </a:cubicBezTo>
                  <a:cubicBezTo>
                    <a:pt x="931" y="2176"/>
                    <a:pt x="890" y="2007"/>
                    <a:pt x="1118" y="1977"/>
                  </a:cubicBezTo>
                  <a:cubicBezTo>
                    <a:pt x="2099" y="1974"/>
                    <a:pt x="2099" y="1974"/>
                    <a:pt x="2099" y="1974"/>
                  </a:cubicBezTo>
                  <a:cubicBezTo>
                    <a:pt x="2372" y="1662"/>
                    <a:pt x="2577" y="1293"/>
                    <a:pt x="2577" y="820"/>
                  </a:cubicBezTo>
                  <a:close/>
                </a:path>
              </a:pathLst>
            </a:custGeom>
            <a:solidFill>
              <a:srgbClr val="002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endParaRPr lang="en-US" dirty="0"/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72241D3D-1F64-54C3-02B5-4C5AA207FDF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0214" y="0"/>
              <a:ext cx="1601374" cy="1390665"/>
            </a:xfrm>
            <a:custGeom>
              <a:avLst/>
              <a:gdLst>
                <a:gd name="T0" fmla="*/ 2147483647 w 2475"/>
                <a:gd name="T1" fmla="*/ 2147483647 h 2152"/>
                <a:gd name="T2" fmla="*/ 2147483647 w 2475"/>
                <a:gd name="T3" fmla="*/ 2147483647 h 2152"/>
                <a:gd name="T4" fmla="*/ 2147483647 w 2475"/>
                <a:gd name="T5" fmla="*/ 2147483647 h 2152"/>
                <a:gd name="T6" fmla="*/ 2147483647 w 2475"/>
                <a:gd name="T7" fmla="*/ 0 h 2152"/>
                <a:gd name="T8" fmla="*/ 0 w 2475"/>
                <a:gd name="T9" fmla="*/ 0 h 2152"/>
                <a:gd name="T10" fmla="*/ 2147483647 w 2475"/>
                <a:gd name="T11" fmla="*/ 2147483647 h 2152"/>
                <a:gd name="T12" fmla="*/ 2147483647 w 2475"/>
                <a:gd name="T13" fmla="*/ 2147483647 h 2152"/>
                <a:gd name="T14" fmla="*/ 2147483647 w 2475"/>
                <a:gd name="T15" fmla="*/ 2147483647 h 2152"/>
                <a:gd name="T16" fmla="*/ 2147483647 w 2475"/>
                <a:gd name="T17" fmla="*/ 2147483647 h 2152"/>
                <a:gd name="T18" fmla="*/ 2147483647 w 2475"/>
                <a:gd name="T19" fmla="*/ 2147483647 h 2152"/>
                <a:gd name="T20" fmla="*/ 2147483647 w 2475"/>
                <a:gd name="T21" fmla="*/ 2147483647 h 2152"/>
                <a:gd name="T22" fmla="*/ 2147483647 w 2475"/>
                <a:gd name="T23" fmla="*/ 2147483647 h 2152"/>
                <a:gd name="T24" fmla="*/ 2147483647 w 2475"/>
                <a:gd name="T25" fmla="*/ 2147483647 h 2152"/>
                <a:gd name="T26" fmla="*/ 2147483647 w 2475"/>
                <a:gd name="T27" fmla="*/ 2147483647 h 215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2475" h="2152">
                  <a:moveTo>
                    <a:pt x="1772" y="1697"/>
                  </a:moveTo>
                  <a:cubicBezTo>
                    <a:pt x="1700" y="1657"/>
                    <a:pt x="1604" y="1517"/>
                    <a:pt x="1793" y="1406"/>
                  </a:cubicBezTo>
                  <a:cubicBezTo>
                    <a:pt x="2475" y="1134"/>
                    <a:pt x="2475" y="1134"/>
                    <a:pt x="2475" y="1134"/>
                  </a:cubicBezTo>
                  <a:cubicBezTo>
                    <a:pt x="2129" y="386"/>
                    <a:pt x="1261" y="0"/>
                    <a:pt x="18" y="0"/>
                  </a:cubicBezTo>
                  <a:cubicBezTo>
                    <a:pt x="12" y="0"/>
                    <a:pt x="6" y="0"/>
                    <a:pt x="0" y="0"/>
                  </a:cubicBezTo>
                  <a:cubicBezTo>
                    <a:pt x="5" y="1547"/>
                    <a:pt x="5" y="1547"/>
                    <a:pt x="5" y="1547"/>
                  </a:cubicBezTo>
                  <a:cubicBezTo>
                    <a:pt x="241" y="1610"/>
                    <a:pt x="398" y="1742"/>
                    <a:pt x="446" y="1944"/>
                  </a:cubicBezTo>
                  <a:cubicBezTo>
                    <a:pt x="1229" y="1632"/>
                    <a:pt x="1229" y="1632"/>
                    <a:pt x="1229" y="1632"/>
                  </a:cubicBezTo>
                  <a:cubicBezTo>
                    <a:pt x="1461" y="1568"/>
                    <a:pt x="1477" y="1766"/>
                    <a:pt x="1444" y="1840"/>
                  </a:cubicBezTo>
                  <a:cubicBezTo>
                    <a:pt x="1444" y="1839"/>
                    <a:pt x="1444" y="1839"/>
                    <a:pt x="1444" y="1839"/>
                  </a:cubicBezTo>
                  <a:cubicBezTo>
                    <a:pt x="1422" y="1890"/>
                    <a:pt x="1419" y="1947"/>
                    <a:pt x="1441" y="1998"/>
                  </a:cubicBezTo>
                  <a:cubicBezTo>
                    <a:pt x="1487" y="2107"/>
                    <a:pt x="1625" y="2152"/>
                    <a:pt x="1750" y="2098"/>
                  </a:cubicBezTo>
                  <a:cubicBezTo>
                    <a:pt x="1875" y="2045"/>
                    <a:pt x="1939" y="1914"/>
                    <a:pt x="1893" y="1806"/>
                  </a:cubicBezTo>
                  <a:cubicBezTo>
                    <a:pt x="1870" y="1753"/>
                    <a:pt x="1826" y="1715"/>
                    <a:pt x="1772" y="1697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endParaRPr lang="en-US" dirty="0"/>
            </a:p>
          </p:txBody>
        </p:sp>
        <p:sp>
          <p:nvSpPr>
            <p:cNvPr id="11" name="Freeform 8">
              <a:extLst>
                <a:ext uri="{FF2B5EF4-FFF2-40B4-BE49-F238E27FC236}">
                  <a16:creationId xmlns:a16="http://schemas.microsoft.com/office/drawing/2014/main" id="{22BB0BB6-3CF4-CA9A-29B6-94E5495F0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0"/>
              <a:ext cx="1721791" cy="1255911"/>
            </a:xfrm>
            <a:custGeom>
              <a:avLst/>
              <a:gdLst>
                <a:gd name="T0" fmla="*/ 2147483647 w 2665"/>
                <a:gd name="T1" fmla="*/ 2147483647 h 1945"/>
                <a:gd name="T2" fmla="*/ 2147483647 w 2665"/>
                <a:gd name="T3" fmla="*/ 2147483647 h 1945"/>
                <a:gd name="T4" fmla="*/ 2147483647 w 2665"/>
                <a:gd name="T5" fmla="*/ 2147483647 h 1945"/>
                <a:gd name="T6" fmla="*/ 2147483647 w 2665"/>
                <a:gd name="T7" fmla="*/ 0 h 1945"/>
                <a:gd name="T8" fmla="*/ 0 w 2665"/>
                <a:gd name="T9" fmla="*/ 2147483647 h 1945"/>
                <a:gd name="T10" fmla="*/ 2147483647 w 2665"/>
                <a:gd name="T11" fmla="*/ 2147483647 h 1945"/>
                <a:gd name="T12" fmla="*/ 2147483647 w 2665"/>
                <a:gd name="T13" fmla="*/ 2147483647 h 1945"/>
                <a:gd name="T14" fmla="*/ 2147483647 w 2665"/>
                <a:gd name="T15" fmla="*/ 2147483647 h 1945"/>
                <a:gd name="T16" fmla="*/ 2147483647 w 2665"/>
                <a:gd name="T17" fmla="*/ 2147483647 h 1945"/>
                <a:gd name="T18" fmla="*/ 2147483647 w 2665"/>
                <a:gd name="T19" fmla="*/ 2147483647 h 1945"/>
                <a:gd name="T20" fmla="*/ 2147483647 w 2665"/>
                <a:gd name="T21" fmla="*/ 2147483647 h 1945"/>
                <a:gd name="T22" fmla="*/ 2147483647 w 2665"/>
                <a:gd name="T23" fmla="*/ 2147483647 h 1945"/>
                <a:gd name="T24" fmla="*/ 2147483647 w 2665"/>
                <a:gd name="T25" fmla="*/ 2147483647 h 1945"/>
                <a:gd name="T26" fmla="*/ 2147483647 w 2665"/>
                <a:gd name="T27" fmla="*/ 2147483647 h 1945"/>
                <a:gd name="T28" fmla="*/ 2147483647 w 2665"/>
                <a:gd name="T29" fmla="*/ 2147483647 h 194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665" h="1945">
                  <a:moveTo>
                    <a:pt x="2438" y="501"/>
                  </a:moveTo>
                  <a:cubicBezTo>
                    <a:pt x="2381" y="503"/>
                    <a:pt x="2329" y="531"/>
                    <a:pt x="2293" y="575"/>
                  </a:cubicBezTo>
                  <a:cubicBezTo>
                    <a:pt x="2229" y="627"/>
                    <a:pt x="2062" y="668"/>
                    <a:pt x="2028" y="444"/>
                  </a:cubicBezTo>
                  <a:cubicBezTo>
                    <a:pt x="2027" y="0"/>
                    <a:pt x="2027" y="0"/>
                    <a:pt x="2027" y="0"/>
                  </a:cubicBezTo>
                  <a:cubicBezTo>
                    <a:pt x="833" y="6"/>
                    <a:pt x="0" y="552"/>
                    <a:pt x="0" y="552"/>
                  </a:cubicBezTo>
                  <a:cubicBezTo>
                    <a:pt x="435" y="1945"/>
                    <a:pt x="435" y="1945"/>
                    <a:pt x="435" y="1945"/>
                  </a:cubicBezTo>
                  <a:cubicBezTo>
                    <a:pt x="435" y="1945"/>
                    <a:pt x="1004" y="1502"/>
                    <a:pt x="1656" y="1502"/>
                  </a:cubicBezTo>
                  <a:cubicBezTo>
                    <a:pt x="1796" y="1502"/>
                    <a:pt x="1922" y="1517"/>
                    <a:pt x="2032" y="1547"/>
                  </a:cubicBezTo>
                  <a:cubicBezTo>
                    <a:pt x="2031" y="1360"/>
                    <a:pt x="2031" y="1360"/>
                    <a:pt x="2031" y="1360"/>
                  </a:cubicBezTo>
                  <a:cubicBezTo>
                    <a:pt x="2035" y="1114"/>
                    <a:pt x="2035" y="1114"/>
                    <a:pt x="2035" y="1114"/>
                  </a:cubicBezTo>
                  <a:cubicBezTo>
                    <a:pt x="2033" y="810"/>
                    <a:pt x="2247" y="871"/>
                    <a:pt x="2309" y="932"/>
                  </a:cubicBezTo>
                  <a:cubicBezTo>
                    <a:pt x="2309" y="931"/>
                    <a:pt x="2309" y="931"/>
                    <a:pt x="2309" y="931"/>
                  </a:cubicBezTo>
                  <a:cubicBezTo>
                    <a:pt x="2348" y="970"/>
                    <a:pt x="2400" y="993"/>
                    <a:pt x="2456" y="991"/>
                  </a:cubicBezTo>
                  <a:cubicBezTo>
                    <a:pt x="2573" y="987"/>
                    <a:pt x="2665" y="874"/>
                    <a:pt x="2660" y="738"/>
                  </a:cubicBezTo>
                  <a:cubicBezTo>
                    <a:pt x="2655" y="603"/>
                    <a:pt x="2556" y="496"/>
                    <a:pt x="2438" y="501"/>
                  </a:cubicBezTo>
                  <a:close/>
                </a:path>
              </a:pathLst>
            </a:custGeom>
            <a:solidFill>
              <a:srgbClr val="002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endParaRPr lang="en-US"/>
            </a:p>
          </p:txBody>
        </p:sp>
        <p:sp>
          <p:nvSpPr>
            <p:cNvPr id="12" name="任意多边形 14">
              <a:extLst>
                <a:ext uri="{FF2B5EF4-FFF2-40B4-BE49-F238E27FC236}">
                  <a16:creationId xmlns:a16="http://schemas.microsoft.com/office/drawing/2014/main" id="{6519909D-32F4-C39B-B2E2-74424EF0D1C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5640" y="3318551"/>
              <a:ext cx="1290445" cy="1288251"/>
            </a:xfrm>
            <a:custGeom>
              <a:avLst/>
              <a:gdLst>
                <a:gd name="T0" fmla="*/ 694643 w 1289896"/>
                <a:gd name="T1" fmla="*/ 1865 h 1288803"/>
                <a:gd name="T2" fmla="*/ 1258403 w 1289896"/>
                <a:gd name="T3" fmla="*/ 438760 h 1288803"/>
                <a:gd name="T4" fmla="*/ 851546 w 1289896"/>
                <a:gd name="T5" fmla="*/ 1253043 h 1288803"/>
                <a:gd name="T6" fmla="*/ 33944 w 1289896"/>
                <a:gd name="T7" fmla="*/ 847837 h 1288803"/>
                <a:gd name="T8" fmla="*/ 440154 w 1289896"/>
                <a:gd name="T9" fmla="*/ 33555 h 1288803"/>
                <a:gd name="T10" fmla="*/ 694643 w 1289896"/>
                <a:gd name="T11" fmla="*/ 1865 h 1288803"/>
                <a:gd name="T12" fmla="*/ 646969 w 1289896"/>
                <a:gd name="T13" fmla="*/ 193219 h 1288803"/>
                <a:gd name="T14" fmla="*/ 503236 w 1289896"/>
                <a:gd name="T15" fmla="*/ 217078 h 1288803"/>
                <a:gd name="T16" fmla="*/ 218360 w 1289896"/>
                <a:gd name="T17" fmla="*/ 786447 h 1288803"/>
                <a:gd name="T18" fmla="*/ 646323 w 1289896"/>
                <a:gd name="T19" fmla="*/ 1093376 h 1288803"/>
                <a:gd name="T20" fmla="*/ 790702 w 1289896"/>
                <a:gd name="T21" fmla="*/ 1069518 h 1288803"/>
                <a:gd name="T22" fmla="*/ 1074932 w 1289896"/>
                <a:gd name="T23" fmla="*/ 500151 h 1288803"/>
                <a:gd name="T24" fmla="*/ 646969 w 1289896"/>
                <a:gd name="T25" fmla="*/ 193219 h 128880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289896" h="1288803">
                  <a:moveTo>
                    <a:pt x="693462" y="1869"/>
                  </a:moveTo>
                  <a:cubicBezTo>
                    <a:pt x="944000" y="21047"/>
                    <a:pt x="1170891" y="186470"/>
                    <a:pt x="1256263" y="439512"/>
                  </a:cubicBezTo>
                  <a:cubicBezTo>
                    <a:pt x="1369446" y="776901"/>
                    <a:pt x="1187707" y="1142082"/>
                    <a:pt x="850098" y="1255192"/>
                  </a:cubicBezTo>
                  <a:cubicBezTo>
                    <a:pt x="512490" y="1368301"/>
                    <a:pt x="147071" y="1186680"/>
                    <a:pt x="33888" y="849291"/>
                  </a:cubicBezTo>
                  <a:cubicBezTo>
                    <a:pt x="-79942" y="511902"/>
                    <a:pt x="102444" y="146720"/>
                    <a:pt x="439406" y="33611"/>
                  </a:cubicBezTo>
                  <a:cubicBezTo>
                    <a:pt x="523808" y="5333"/>
                    <a:pt x="609949" y="-4523"/>
                    <a:pt x="693462" y="1869"/>
                  </a:cubicBezTo>
                  <a:close/>
                  <a:moveTo>
                    <a:pt x="645869" y="193551"/>
                  </a:moveTo>
                  <a:cubicBezTo>
                    <a:pt x="597393" y="193551"/>
                    <a:pt x="548917" y="201302"/>
                    <a:pt x="502380" y="217450"/>
                  </a:cubicBezTo>
                  <a:cubicBezTo>
                    <a:pt x="266464" y="296252"/>
                    <a:pt x="139133" y="552035"/>
                    <a:pt x="217988" y="787795"/>
                  </a:cubicBezTo>
                  <a:cubicBezTo>
                    <a:pt x="280037" y="971881"/>
                    <a:pt x="451965" y="1095251"/>
                    <a:pt x="645223" y="1095251"/>
                  </a:cubicBezTo>
                  <a:cubicBezTo>
                    <a:pt x="694345" y="1095251"/>
                    <a:pt x="742175" y="1087500"/>
                    <a:pt x="789358" y="1071352"/>
                  </a:cubicBezTo>
                  <a:cubicBezTo>
                    <a:pt x="1024628" y="992550"/>
                    <a:pt x="1151958" y="736767"/>
                    <a:pt x="1073104" y="501008"/>
                  </a:cubicBezTo>
                  <a:cubicBezTo>
                    <a:pt x="1011055" y="316921"/>
                    <a:pt x="839773" y="193551"/>
                    <a:pt x="645869" y="193551"/>
                  </a:cubicBezTo>
                  <a:close/>
                </a:path>
              </a:pathLst>
            </a:custGeom>
            <a:solidFill>
              <a:srgbClr val="002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endParaRPr lang="en-US"/>
            </a:p>
          </p:txBody>
        </p:sp>
      </p:grpSp>
      <p:sp>
        <p:nvSpPr>
          <p:cNvPr id="13" name="矩形 15">
            <a:extLst>
              <a:ext uri="{FF2B5EF4-FFF2-40B4-BE49-F238E27FC236}">
                <a16:creationId xmlns:a16="http://schemas.microsoft.com/office/drawing/2014/main" id="{B640DE24-D193-7589-0CEA-ECF4C88CC4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32400" y="1976438"/>
            <a:ext cx="707245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r>
              <a:rPr lang="en-US" altLang="zh-CN" sz="3200" dirty="0">
                <a:solidFill>
                  <a:schemeClr val="bg1"/>
                </a:solidFill>
                <a:latin typeface="+mn-lt"/>
                <a:ea typeface="微软雅黑" panose="020B0503020204020204" pitchFamily="34" charset="-122"/>
                <a:sym typeface="+mn-lt"/>
              </a:rPr>
              <a:t>01</a:t>
            </a:r>
            <a:endParaRPr lang="zh-CN" altLang="en-US" sz="3200" dirty="0">
              <a:solidFill>
                <a:schemeClr val="bg1"/>
              </a:solidFill>
              <a:latin typeface="+mn-lt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14" name="矩形 16">
            <a:extLst>
              <a:ext uri="{FF2B5EF4-FFF2-40B4-BE49-F238E27FC236}">
                <a16:creationId xmlns:a16="http://schemas.microsoft.com/office/drawing/2014/main" id="{13A06B0C-2E92-10D2-4A33-3FBEA27E44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24600" y="1992313"/>
            <a:ext cx="707245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en-US" altLang="zh-CN" sz="3200" dirty="0">
                <a:latin typeface="+mn-lt"/>
                <a:ea typeface="微软雅黑" panose="020B0503020204020204" pitchFamily="34" charset="-122"/>
                <a:sym typeface="+mn-lt"/>
              </a:rPr>
              <a:t>02</a:t>
            </a:r>
            <a:endParaRPr lang="zh-CN" altLang="en-US" sz="3200" dirty="0">
              <a:latin typeface="+mn-lt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15" name="矩形 17">
            <a:extLst>
              <a:ext uri="{FF2B5EF4-FFF2-40B4-BE49-F238E27FC236}">
                <a16:creationId xmlns:a16="http://schemas.microsoft.com/office/drawing/2014/main" id="{6A96EC47-12CC-6DC6-B7CE-93C7D3CF44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26200" y="2913063"/>
            <a:ext cx="707245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en-US" altLang="zh-CN" sz="3200" dirty="0">
                <a:solidFill>
                  <a:schemeClr val="bg1"/>
                </a:solidFill>
                <a:latin typeface="+mn-lt"/>
                <a:ea typeface="微软雅黑" panose="020B0503020204020204" pitchFamily="34" charset="-122"/>
                <a:sym typeface="+mn-lt"/>
              </a:rPr>
              <a:t>03</a:t>
            </a:r>
            <a:endParaRPr lang="zh-CN" altLang="en-US" sz="3200" dirty="0">
              <a:solidFill>
                <a:schemeClr val="bg1"/>
              </a:solidFill>
              <a:latin typeface="+mn-lt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16" name="矩形 18">
            <a:extLst>
              <a:ext uri="{FF2B5EF4-FFF2-40B4-BE49-F238E27FC236}">
                <a16:creationId xmlns:a16="http://schemas.microsoft.com/office/drawing/2014/main" id="{C0603BBE-9A3D-4D72-59CB-DB8C6E292B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00725" y="3790950"/>
            <a:ext cx="707245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r>
              <a:rPr lang="en-US" altLang="zh-CN" sz="3200" dirty="0">
                <a:latin typeface="+mn-lt"/>
                <a:ea typeface="微软雅黑" panose="020B0503020204020204" pitchFamily="34" charset="-122"/>
                <a:sym typeface="+mn-lt"/>
              </a:rPr>
              <a:t>04</a:t>
            </a:r>
            <a:endParaRPr lang="zh-CN" altLang="en-US" sz="3200" dirty="0">
              <a:latin typeface="+mn-lt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18" name="矩形 20">
            <a:extLst>
              <a:ext uri="{FF2B5EF4-FFF2-40B4-BE49-F238E27FC236}">
                <a16:creationId xmlns:a16="http://schemas.microsoft.com/office/drawing/2014/main" id="{F6B1A9F9-4D50-1F1F-2FA1-C0B2C1610C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19240" y="3980656"/>
            <a:ext cx="2284408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en-US" altLang="zh-CN" sz="1300" b="1" dirty="0" err="1">
                <a:solidFill>
                  <a:srgbClr val="FFC000"/>
                </a:solidFill>
                <a:latin typeface="+mn-lt"/>
                <a:ea typeface="微软雅黑" panose="020B0503020204020204" pitchFamily="34" charset="-122"/>
                <a:sym typeface="+mn-lt"/>
              </a:rPr>
              <a:t>Schriftliche</a:t>
            </a:r>
            <a:r>
              <a:rPr lang="en-US" altLang="zh-CN" sz="1300" b="1" dirty="0">
                <a:solidFill>
                  <a:srgbClr val="FFC000"/>
                </a:solidFill>
                <a:latin typeface="+mn-lt"/>
                <a:ea typeface="微软雅黑" panose="020B0503020204020204" pitchFamily="34" charset="-122"/>
                <a:sym typeface="+mn-lt"/>
              </a:rPr>
              <a:t> </a:t>
            </a:r>
            <a:r>
              <a:rPr lang="en-US" altLang="zh-CN" sz="1300" b="1" dirty="0" err="1">
                <a:solidFill>
                  <a:srgbClr val="FFC000"/>
                </a:solidFill>
                <a:latin typeface="+mn-lt"/>
                <a:ea typeface="微软雅黑" panose="020B0503020204020204" pitchFamily="34" charset="-122"/>
                <a:sym typeface="+mn-lt"/>
              </a:rPr>
              <a:t>Dokumentation</a:t>
            </a:r>
            <a:endParaRPr lang="zh-CN" altLang="en-US" sz="1300" b="1" dirty="0">
              <a:solidFill>
                <a:srgbClr val="FFC000"/>
              </a:solidFill>
              <a:latin typeface="+mn-lt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21" name="矩形 23">
            <a:extLst>
              <a:ext uri="{FF2B5EF4-FFF2-40B4-BE49-F238E27FC236}">
                <a16:creationId xmlns:a16="http://schemas.microsoft.com/office/drawing/2014/main" id="{0B44BE03-B6D9-D14C-6290-EDE072A1EC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93179" y="1922463"/>
            <a:ext cx="1736530" cy="692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/>
            <a:r>
              <a:rPr lang="en-US" altLang="zh-CN" sz="1300" b="1" dirty="0" err="1">
                <a:solidFill>
                  <a:srgbClr val="00257C"/>
                </a:solidFill>
                <a:latin typeface="+mn-lt"/>
                <a:ea typeface="微软雅黑" panose="020B0503020204020204" pitchFamily="34" charset="-122"/>
                <a:sym typeface="+mn-lt"/>
              </a:rPr>
              <a:t>Ergebnisse</a:t>
            </a:r>
            <a:r>
              <a:rPr lang="en-US" altLang="zh-CN" sz="1300" b="1" dirty="0">
                <a:solidFill>
                  <a:srgbClr val="00257C"/>
                </a:solidFill>
                <a:latin typeface="+mn-lt"/>
                <a:ea typeface="微软雅黑" panose="020B0503020204020204" pitchFamily="34" charset="-122"/>
                <a:sym typeface="+mn-lt"/>
              </a:rPr>
              <a:t> </a:t>
            </a:r>
            <a:r>
              <a:rPr lang="en-US" altLang="zh-CN" sz="1300" b="1" dirty="0" err="1">
                <a:solidFill>
                  <a:srgbClr val="00257C"/>
                </a:solidFill>
                <a:latin typeface="+mn-lt"/>
                <a:ea typeface="微软雅黑" panose="020B0503020204020204" pitchFamily="34" charset="-122"/>
                <a:sym typeface="+mn-lt"/>
              </a:rPr>
              <a:t>analysieren</a:t>
            </a:r>
            <a:r>
              <a:rPr lang="en-US" altLang="zh-CN" sz="1300" b="1" dirty="0">
                <a:solidFill>
                  <a:srgbClr val="00257C"/>
                </a:solidFill>
                <a:latin typeface="+mn-lt"/>
                <a:ea typeface="微软雅黑" panose="020B0503020204020204" pitchFamily="34" charset="-122"/>
                <a:sym typeface="+mn-lt"/>
              </a:rPr>
              <a:t> und </a:t>
            </a:r>
            <a:r>
              <a:rPr lang="en-US" altLang="zh-CN" sz="1300" b="1" dirty="0" err="1">
                <a:solidFill>
                  <a:srgbClr val="00257C"/>
                </a:solidFill>
                <a:latin typeface="+mn-lt"/>
                <a:ea typeface="微软雅黑" panose="020B0503020204020204" pitchFamily="34" charset="-122"/>
                <a:sym typeface="+mn-lt"/>
              </a:rPr>
              <a:t>validieren</a:t>
            </a:r>
            <a:endParaRPr lang="zh-CN" altLang="en-US" sz="1300" b="1" dirty="0">
              <a:solidFill>
                <a:srgbClr val="00257C"/>
              </a:solidFill>
              <a:latin typeface="+mn-lt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24" name="矩形 26">
            <a:extLst>
              <a:ext uri="{FF2B5EF4-FFF2-40B4-BE49-F238E27FC236}">
                <a16:creationId xmlns:a16="http://schemas.microsoft.com/office/drawing/2014/main" id="{9B3EA52C-DEE8-1344-396B-A768607EE65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80304" y="2122517"/>
            <a:ext cx="1919628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en-US" altLang="zh-CN" sz="1300" b="1" dirty="0">
                <a:solidFill>
                  <a:srgbClr val="FFC000"/>
                </a:solidFill>
                <a:latin typeface="+mn-lt"/>
                <a:ea typeface="微软雅黑" panose="020B0503020204020204" pitchFamily="34" charset="-122"/>
                <a:sym typeface="+mn-lt"/>
              </a:rPr>
              <a:t>Data Story </a:t>
            </a:r>
            <a:r>
              <a:rPr lang="en-US" altLang="zh-CN" sz="1300" b="1" dirty="0" err="1">
                <a:solidFill>
                  <a:srgbClr val="FFC000"/>
                </a:solidFill>
                <a:latin typeface="+mn-lt"/>
                <a:ea typeface="微软雅黑" panose="020B0503020204020204" pitchFamily="34" charset="-122"/>
                <a:sym typeface="+mn-lt"/>
              </a:rPr>
              <a:t>ausarbeiten</a:t>
            </a:r>
            <a:endParaRPr lang="zh-CN" altLang="en-US" sz="1300" b="1" dirty="0">
              <a:solidFill>
                <a:srgbClr val="FFC000"/>
              </a:solidFill>
              <a:latin typeface="+mn-lt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27" name="矩形 29">
            <a:extLst>
              <a:ext uri="{FF2B5EF4-FFF2-40B4-BE49-F238E27FC236}">
                <a16:creationId xmlns:a16="http://schemas.microsoft.com/office/drawing/2014/main" id="{BD105ED5-6B53-3A33-EBEA-B4F8F04DD8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79578" y="3980656"/>
            <a:ext cx="2321081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/>
            <a:r>
              <a:rPr lang="en-US" altLang="zh-CN" sz="1300" b="1" dirty="0">
                <a:solidFill>
                  <a:srgbClr val="00257C"/>
                </a:solidFill>
                <a:latin typeface="+mn-lt"/>
                <a:ea typeface="微软雅黑" panose="020B0503020204020204" pitchFamily="34" charset="-122"/>
                <a:sym typeface="+mn-lt"/>
              </a:rPr>
              <a:t>Multimedia-</a:t>
            </a:r>
            <a:r>
              <a:rPr lang="en-US" altLang="zh-CN" sz="1300" b="1" dirty="0" err="1">
                <a:solidFill>
                  <a:srgbClr val="00257C"/>
                </a:solidFill>
                <a:latin typeface="+mn-lt"/>
                <a:ea typeface="微软雅黑" panose="020B0503020204020204" pitchFamily="34" charset="-122"/>
                <a:sym typeface="+mn-lt"/>
              </a:rPr>
              <a:t>Präsentation</a:t>
            </a:r>
            <a:r>
              <a:rPr lang="en-US" altLang="zh-CN" sz="1300" b="1" dirty="0">
                <a:solidFill>
                  <a:srgbClr val="00257C"/>
                </a:solidFill>
                <a:latin typeface="+mn-lt"/>
                <a:ea typeface="微软雅黑" panose="020B0503020204020204" pitchFamily="34" charset="-122"/>
                <a:sym typeface="+mn-lt"/>
              </a:rPr>
              <a:t> </a:t>
            </a:r>
            <a:r>
              <a:rPr lang="en-US" altLang="zh-CN" sz="1300" b="1" dirty="0" err="1">
                <a:solidFill>
                  <a:srgbClr val="00257C"/>
                </a:solidFill>
                <a:latin typeface="+mn-lt"/>
                <a:ea typeface="微软雅黑" panose="020B0503020204020204" pitchFamily="34" charset="-122"/>
                <a:sym typeface="+mn-lt"/>
              </a:rPr>
              <a:t>produzieren</a:t>
            </a:r>
            <a:endParaRPr lang="zh-CN" altLang="en-US" sz="1300" b="1" dirty="0">
              <a:solidFill>
                <a:srgbClr val="00257C"/>
              </a:solidFill>
              <a:latin typeface="+mn-lt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29" name="Rectangle 3">
            <a:extLst>
              <a:ext uri="{FF2B5EF4-FFF2-40B4-BE49-F238E27FC236}">
                <a16:creationId xmlns:a16="http://schemas.microsoft.com/office/drawing/2014/main" id="{2CC3AC6C-8B10-BD87-E0BA-1D718F85BCF8}"/>
              </a:ext>
            </a:extLst>
          </p:cNvPr>
          <p:cNvSpPr/>
          <p:nvPr/>
        </p:nvSpPr>
        <p:spPr>
          <a:xfrm>
            <a:off x="12582034" y="3806170"/>
            <a:ext cx="939801" cy="1139109"/>
          </a:xfrm>
          <a:prstGeom prst="round2SameRect">
            <a:avLst/>
          </a:prstGeom>
          <a:solidFill>
            <a:schemeClr val="bg1">
              <a:lumMod val="6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0" name="Datumsplatzhalter 3">
            <a:extLst>
              <a:ext uri="{FF2B5EF4-FFF2-40B4-BE49-F238E27FC236}">
                <a16:creationId xmlns:a16="http://schemas.microsoft.com/office/drawing/2014/main" id="{8B09C8E2-5B16-CE29-9D9B-828BABDCD30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/>
          <a:lstStyle/>
          <a:p>
            <a:r>
              <a:rPr lang="de-DE" dirty="0"/>
              <a:t>Freitag, 23. Juni 2025</a:t>
            </a:r>
          </a:p>
        </p:txBody>
      </p:sp>
    </p:spTree>
    <p:extLst>
      <p:ext uri="{BB962C8B-B14F-4D97-AF65-F5344CB8AC3E}">
        <p14:creationId xmlns:p14="http://schemas.microsoft.com/office/powerpoint/2010/main" val="304558142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A0F0C3EC-F4E5-5B86-4D26-190554D475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>
            <a:extLst>
              <a:ext uri="{FF2B5EF4-FFF2-40B4-BE49-F238E27FC236}">
                <a16:creationId xmlns:a16="http://schemas.microsoft.com/office/drawing/2014/main" id="{0CC1D577-FC49-EE27-6D3B-46B712F23E90}"/>
              </a:ext>
            </a:extLst>
          </p:cNvPr>
          <p:cNvSpPr txBox="1">
            <a:spLocks/>
          </p:cNvSpPr>
          <p:nvPr/>
        </p:nvSpPr>
        <p:spPr bwMode="gray">
          <a:xfrm>
            <a:off x="501651" y="5237007"/>
            <a:ext cx="6605269" cy="89598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ts val="3200"/>
              </a:lnSpc>
              <a:spcBef>
                <a:spcPct val="0"/>
              </a:spcBef>
              <a:buNone/>
              <a:defRPr sz="3200" b="0" kern="120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ts val="3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1" i="0" u="none" strike="noStrike" kern="1200" cap="small" spc="0" normalizeH="0" baseline="0" noProof="0" dirty="0">
                <a:ln>
                  <a:noFill/>
                </a:ln>
                <a:solidFill>
                  <a:srgbClr val="00257C"/>
                </a:solidFill>
                <a:effectLst/>
                <a:uLnTx/>
                <a:uFillTx/>
                <a:latin typeface="Calibri" panose="020F0502020204030204"/>
                <a:ea typeface="Open Sans" panose="020B0606030504020204" pitchFamily="34" charset="0"/>
                <a:cs typeface="Calibri Light" panose="020F0302020204030204" pitchFamily="34" charset="0"/>
              </a:rPr>
              <a:t>ResearchGrid EU</a:t>
            </a:r>
            <a:br>
              <a:rPr kumimoji="0" lang="en-GB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rPr>
            </a:br>
            <a:r>
              <a:rPr kumimoji="0" lang="en-US" sz="2800" b="1" i="0" u="none" strike="noStrike" kern="1200" cap="small" spc="0" normalizeH="0" baseline="0" noProof="0" dirty="0" err="1">
                <a:ln>
                  <a:noFill/>
                </a:ln>
                <a:solidFill>
                  <a:srgbClr val="FFC620"/>
                </a:solidFill>
                <a:effectLst/>
                <a:uLnTx/>
                <a:uFillTx/>
                <a:latin typeface="Calibri" panose="020F0502020204030204"/>
                <a:ea typeface="Open Sans" panose="020B0606030504020204" pitchFamily="34" charset="0"/>
                <a:cs typeface="Calibri Light" panose="020F0302020204030204" pitchFamily="34" charset="0"/>
              </a:rPr>
              <a:t>Chancen</a:t>
            </a:r>
            <a:r>
              <a:rPr kumimoji="0" lang="en-US" sz="2800" b="1" i="0" u="none" strike="noStrike" kern="1200" cap="small" spc="0" normalizeH="0" baseline="0" noProof="0" dirty="0">
                <a:ln>
                  <a:noFill/>
                </a:ln>
                <a:solidFill>
                  <a:srgbClr val="FFC620"/>
                </a:solidFill>
                <a:effectLst/>
                <a:uLnTx/>
                <a:uFillTx/>
                <a:latin typeface="Calibri" panose="020F0502020204030204"/>
                <a:ea typeface="Open Sans" panose="020B0606030504020204" pitchFamily="34" charset="0"/>
                <a:cs typeface="Calibri Light" panose="020F0302020204030204" pitchFamily="34" charset="0"/>
              </a:rPr>
              <a:t> für die EU </a:t>
            </a:r>
            <a:r>
              <a:rPr kumimoji="0" lang="en-US" sz="2800" b="1" i="0" u="none" strike="noStrike" kern="1200" cap="small" spc="0" normalizeH="0" baseline="0" noProof="0" dirty="0" err="1">
                <a:ln>
                  <a:noFill/>
                </a:ln>
                <a:solidFill>
                  <a:srgbClr val="FFC620"/>
                </a:solidFill>
                <a:effectLst/>
                <a:uLnTx/>
                <a:uFillTx/>
                <a:latin typeface="Calibri" panose="020F0502020204030204"/>
                <a:ea typeface="Open Sans" panose="020B0606030504020204" pitchFamily="34" charset="0"/>
                <a:cs typeface="Calibri Light" panose="020F0302020204030204" pitchFamily="34" charset="0"/>
              </a:rPr>
              <a:t>im</a:t>
            </a:r>
            <a:r>
              <a:rPr kumimoji="0" lang="en-US" sz="2800" b="1" i="0" u="none" strike="noStrike" kern="1200" cap="small" spc="0" normalizeH="0" baseline="0" noProof="0" dirty="0">
                <a:ln>
                  <a:noFill/>
                </a:ln>
                <a:solidFill>
                  <a:srgbClr val="FFC620"/>
                </a:solidFill>
                <a:effectLst/>
                <a:uLnTx/>
                <a:uFillTx/>
                <a:latin typeface="Calibri" panose="020F0502020204030204"/>
                <a:ea typeface="Open Sans" panose="020B0606030504020204" pitchFamily="34" charset="0"/>
                <a:cs typeface="Calibri Light" panose="020F0302020204030204" pitchFamily="34" charset="0"/>
              </a:rPr>
              <a:t> </a:t>
            </a:r>
            <a:r>
              <a:rPr kumimoji="0" lang="en-US" sz="2800" b="1" i="0" u="none" strike="noStrike" kern="1200" cap="small" spc="0" normalizeH="0" baseline="0" noProof="0" dirty="0" err="1">
                <a:ln>
                  <a:noFill/>
                </a:ln>
                <a:solidFill>
                  <a:srgbClr val="FFC620"/>
                </a:solidFill>
                <a:effectLst/>
                <a:uLnTx/>
                <a:uFillTx/>
                <a:latin typeface="Calibri" panose="020F0502020204030204"/>
                <a:ea typeface="Open Sans" panose="020B0606030504020204" pitchFamily="34" charset="0"/>
                <a:cs typeface="Calibri Light" panose="020F0302020204030204" pitchFamily="34" charset="0"/>
              </a:rPr>
              <a:t>Bereich</a:t>
            </a:r>
            <a:r>
              <a:rPr kumimoji="0" lang="en-US" sz="2800" b="1" i="0" u="none" strike="noStrike" kern="1200" cap="small" spc="0" normalizeH="0" baseline="0" noProof="0" dirty="0">
                <a:ln>
                  <a:noFill/>
                </a:ln>
                <a:solidFill>
                  <a:srgbClr val="FFC620"/>
                </a:solidFill>
                <a:effectLst/>
                <a:uLnTx/>
                <a:uFillTx/>
                <a:latin typeface="Calibri" panose="020F0502020204030204"/>
                <a:ea typeface="Open Sans" panose="020B0606030504020204" pitchFamily="34" charset="0"/>
                <a:cs typeface="Calibri Light" panose="020F0302020204030204" pitchFamily="34" charset="0"/>
              </a:rPr>
              <a:t> Data Science</a:t>
            </a:r>
            <a:endParaRPr kumimoji="0" lang="en-GB" sz="3200" b="1" i="0" u="none" strike="noStrike" kern="1200" cap="small" spc="0" normalizeH="0" baseline="0" noProof="0" dirty="0">
              <a:ln>
                <a:noFill/>
              </a:ln>
              <a:solidFill>
                <a:srgbClr val="FFC620"/>
              </a:solidFill>
              <a:effectLst/>
              <a:uLnTx/>
              <a:uFillTx/>
              <a:latin typeface="Calibri" panose="020F0502020204030204"/>
              <a:ea typeface="Open Sans" panose="020B0606030504020204" pitchFamily="34" charset="0"/>
              <a:cs typeface="Calibri Light" panose="020F0302020204030204" pitchFamily="34" charset="0"/>
            </a:endParaRP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DB46BF1A-CF87-8A73-ECD3-27C8E15EF90A}"/>
              </a:ext>
            </a:extLst>
          </p:cNvPr>
          <p:cNvSpPr txBox="1">
            <a:spLocks/>
          </p:cNvSpPr>
          <p:nvPr/>
        </p:nvSpPr>
        <p:spPr>
          <a:xfrm>
            <a:off x="501651" y="6381750"/>
            <a:ext cx="8503671" cy="2730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Tx/>
              <a:buNone/>
              <a:defRPr sz="1400" b="1" kern="12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>
                <a:solidFill>
                  <a:schemeClr val="bg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GB" sz="1400" b="1" i="0" u="none" strike="noStrike" kern="1200" cap="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OSE2025 | DHBW Mannheim | </a:t>
            </a:r>
            <a:r>
              <a:rPr kumimoji="0" lang="en-GB" sz="1400" b="1" i="0" u="none" strike="noStrike" kern="1200" cap="all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ojektrealisierung</a:t>
            </a:r>
            <a:r>
              <a:rPr kumimoji="0" lang="en-GB" sz="1400" b="1" i="0" u="none" strike="noStrike" kern="1200" cap="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| Freitag, 23. </a:t>
            </a:r>
            <a:r>
              <a:rPr lang="en-GB" cap="all" dirty="0">
                <a:solidFill>
                  <a:prstClr val="black"/>
                </a:solidFill>
              </a:rPr>
              <a:t>JUNI</a:t>
            </a:r>
            <a:r>
              <a:rPr kumimoji="0" lang="en-GB" sz="1400" b="1" i="0" u="none" strike="noStrike" kern="1200" cap="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2025 | ID: 004-RG-EU-2025</a:t>
            </a:r>
          </a:p>
        </p:txBody>
      </p:sp>
      <p:sp>
        <p:nvSpPr>
          <p:cNvPr id="2" name="Ellipse 1">
            <a:extLst>
              <a:ext uri="{FF2B5EF4-FFF2-40B4-BE49-F238E27FC236}">
                <a16:creationId xmlns:a16="http://schemas.microsoft.com/office/drawing/2014/main" id="{188D0F22-851B-6DC7-853B-3E43D8368A7E}"/>
              </a:ext>
            </a:extLst>
          </p:cNvPr>
          <p:cNvSpPr/>
          <p:nvPr/>
        </p:nvSpPr>
        <p:spPr>
          <a:xfrm>
            <a:off x="3954000" y="533632"/>
            <a:ext cx="4284000" cy="4284000"/>
          </a:xfrm>
          <a:prstGeom prst="ellipse">
            <a:avLst/>
          </a:prstGeom>
          <a:blipFill>
            <a:blip r:embed="rId4"/>
            <a:stretch>
              <a:fillRect/>
            </a:stretch>
          </a:blipFill>
          <a:ln w="50800">
            <a:solidFill>
              <a:srgbClr val="FFC62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DB0C7C0-6875-AD8C-86E9-B89D3307813D}"/>
              </a:ext>
            </a:extLst>
          </p:cNvPr>
          <p:cNvSpPr txBox="1">
            <a:spLocks/>
          </p:cNvSpPr>
          <p:nvPr/>
        </p:nvSpPr>
        <p:spPr>
          <a:xfrm>
            <a:off x="7244082" y="5535248"/>
            <a:ext cx="4446269" cy="10668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Tx/>
              <a:buNone/>
              <a:defRPr sz="1400" b="1" kern="12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>
                <a:solidFill>
                  <a:schemeClr val="bg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400" b="1" i="0" u="none" strike="noStrike" kern="1200" cap="sm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arlo Rinderer | 1902925</a:t>
            </a:r>
          </a:p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400" b="1" i="0" u="none" strike="noStrike" kern="1200" cap="sm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vid Simon | 1893552</a:t>
            </a:r>
          </a:p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400" b="1" i="0" u="none" strike="noStrike" kern="1200" cap="sm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iklas Seither | 4253802</a:t>
            </a:r>
          </a:p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400" b="1" i="0" u="none" strike="noStrike" kern="1200" cap="sm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Yanick Bedel | 8424886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A9C9BE94-3D75-9AD8-66FD-44A0BAE3A92A}"/>
              </a:ext>
            </a:extLst>
          </p:cNvPr>
          <p:cNvSpPr/>
          <p:nvPr/>
        </p:nvSpPr>
        <p:spPr>
          <a:xfrm>
            <a:off x="13010465" y="1251438"/>
            <a:ext cx="914400" cy="914400"/>
          </a:xfrm>
          <a:prstGeom prst="rect">
            <a:avLst/>
          </a:prstGeom>
          <a:solidFill>
            <a:srgbClr val="00257C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7E546A9E-A00C-9713-5C64-A016AE1D44CF}"/>
              </a:ext>
            </a:extLst>
          </p:cNvPr>
          <p:cNvSpPr/>
          <p:nvPr/>
        </p:nvSpPr>
        <p:spPr>
          <a:xfrm>
            <a:off x="13010465" y="2313682"/>
            <a:ext cx="914400" cy="914400"/>
          </a:xfrm>
          <a:prstGeom prst="rect">
            <a:avLst/>
          </a:prstGeom>
          <a:solidFill>
            <a:srgbClr val="FFC62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75770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7f857595-2f06-419b-be3c-21d0095e4c26"/>
  <p:tag name="MIO_EKGUID" val="63dc82dd-4d04-4bcc-9618-87bdaabbdffa"/>
  <p:tag name="MIO_UPDATE" val="True"/>
  <p:tag name="MIO_VERSION" val="08.01.2024 12:38:19"/>
  <p:tag name="MIO_DBID" val="fede6900-895c-4459-b97c-72b2b9dac459"/>
  <p:tag name="MIO_LASTDOWNLOADED" val="08.01.2024 13:45:45"/>
  <p:tag name="MIO_OBJECTNAME" val="Advanced graphics timesaverCharts, tables, diagrams, and more"/>
  <p:tag name="MIO_LASTEDITORNAME" val="Isabel Steiml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7f857595-2f06-419b-be3c-21d0095e4c26"/>
  <p:tag name="MIO_EKGUID" val="63dc82dd-4d04-4bcc-9618-87bdaabbdffa"/>
  <p:tag name="MIO_UPDATE" val="True"/>
  <p:tag name="MIO_VERSION" val="08.01.2024 12:38:19"/>
  <p:tag name="MIO_DBID" val="fede6900-895c-4459-b97c-72b2b9dac459"/>
  <p:tag name="MIO_LASTDOWNLOADED" val="08.01.2024 13:45:45"/>
  <p:tag name="MIO_OBJECTNAME" val="Advanced graphics timesaverCharts, tables, diagrams, and more"/>
  <p:tag name="MIO_LASTEDITORNAME" val="Isabel Steiml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Default Theme.potx" id="{D406F015-C4A6-497A-AC86-E6DDF7021F55}" vid="{ABC6D58B-546C-4A7B-8391-0BA4DD46A26C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Metadata/LabelInfo.xml><?xml version="1.0" encoding="utf-8"?>
<clbl:labelList xmlns:clbl="http://schemas.microsoft.com/office/2020/mipLabelMetadata">
  <clbl:label id="{ea60d57e-af5b-4752-ac57-3e4f28ca11dc}" enabled="1" method="Standard" siteId="{36da45f1-dd2c-4d1f-af13-5abe46b99921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0</TotalTime>
  <Words>364</Words>
  <Application>Microsoft Office PowerPoint</Application>
  <PresentationFormat>Breitbild</PresentationFormat>
  <Paragraphs>83</Paragraphs>
  <Slides>7</Slides>
  <Notes>3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2</vt:i4>
      </vt:variant>
      <vt:variant>
        <vt:lpstr>Folientitel</vt:lpstr>
      </vt:variant>
      <vt:variant>
        <vt:i4>7</vt:i4>
      </vt:variant>
    </vt:vector>
  </HeadingPairs>
  <TitlesOfParts>
    <vt:vector size="17" baseType="lpstr">
      <vt:lpstr>微软雅黑</vt:lpstr>
      <vt:lpstr>华文细黑</vt:lpstr>
      <vt:lpstr>Aptos</vt:lpstr>
      <vt:lpstr>Arial</vt:lpstr>
      <vt:lpstr>Calibri</vt:lpstr>
      <vt:lpstr>Calibri Light</vt:lpstr>
      <vt:lpstr>Verdana</vt:lpstr>
      <vt:lpstr>Wingdings 2</vt:lpstr>
      <vt:lpstr>Office</vt:lpstr>
      <vt:lpstr>Office Theme</vt:lpstr>
      <vt:lpstr>PowerPoint-Präsentation</vt:lpstr>
      <vt:lpstr>Detaillierter PSP mit Status</vt:lpstr>
      <vt:lpstr>Aufbau und Beschreibung der Arbeitspakete</vt:lpstr>
      <vt:lpstr>Beispielhafte Visualisierungen (Auszüge)</vt:lpstr>
      <vt:lpstr>Aufgetretene Challenges</vt:lpstr>
      <vt:lpstr>Ausblick für den weiteren Projektverlauf</vt:lpstr>
      <vt:lpstr>PowerPoint-Präsentation</vt:lpstr>
    </vt:vector>
  </TitlesOfParts>
  <Company>Deloitt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Bedel, Yanick Noah</dc:creator>
  <cp:lastModifiedBy>Carlo Rinderer</cp:lastModifiedBy>
  <cp:revision>16</cp:revision>
  <dcterms:created xsi:type="dcterms:W3CDTF">2025-05-22T09:03:28Z</dcterms:created>
  <dcterms:modified xsi:type="dcterms:W3CDTF">2025-06-23T10:56:13Z</dcterms:modified>
</cp:coreProperties>
</file>